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handoutMasterIdLst>
    <p:handoutMasterId r:id="rId44"/>
  </p:handoutMasterIdLst>
  <p:sldIdLst>
    <p:sldId id="353" r:id="rId3"/>
    <p:sldId id="351" r:id="rId5"/>
    <p:sldId id="338" r:id="rId6"/>
    <p:sldId id="331" r:id="rId7"/>
    <p:sldId id="344" r:id="rId8"/>
    <p:sldId id="346" r:id="rId9"/>
    <p:sldId id="347" r:id="rId10"/>
    <p:sldId id="348" r:id="rId11"/>
    <p:sldId id="349" r:id="rId12"/>
    <p:sldId id="333" r:id="rId13"/>
    <p:sldId id="332" r:id="rId14"/>
    <p:sldId id="261" r:id="rId15"/>
    <p:sldId id="267" r:id="rId16"/>
    <p:sldId id="313" r:id="rId17"/>
    <p:sldId id="314" r:id="rId18"/>
    <p:sldId id="326" r:id="rId19"/>
    <p:sldId id="302" r:id="rId20"/>
    <p:sldId id="308" r:id="rId21"/>
    <p:sldId id="305" r:id="rId22"/>
    <p:sldId id="306" r:id="rId23"/>
    <p:sldId id="319" r:id="rId24"/>
    <p:sldId id="262" r:id="rId25"/>
    <p:sldId id="268" r:id="rId26"/>
    <p:sldId id="266" r:id="rId27"/>
    <p:sldId id="341" r:id="rId28"/>
    <p:sldId id="275" r:id="rId29"/>
    <p:sldId id="279" r:id="rId30"/>
    <p:sldId id="334" r:id="rId31"/>
    <p:sldId id="280" r:id="rId32"/>
    <p:sldId id="281" r:id="rId33"/>
    <p:sldId id="340" r:id="rId34"/>
    <p:sldId id="285" r:id="rId35"/>
    <p:sldId id="287" r:id="rId36"/>
    <p:sldId id="335" r:id="rId37"/>
    <p:sldId id="290" r:id="rId38"/>
    <p:sldId id="337" r:id="rId39"/>
    <p:sldId id="295" r:id="rId40"/>
    <p:sldId id="339" r:id="rId41"/>
    <p:sldId id="343" r:id="rId42"/>
    <p:sldId id="352" r:id="rId43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FF6600"/>
    <a:srgbClr val="F20000"/>
    <a:srgbClr val="FFA219"/>
    <a:srgbClr val="C00000"/>
    <a:srgbClr val="DE0000"/>
    <a:srgbClr val="FFC1C1"/>
    <a:srgbClr val="FF0505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15" autoAdjust="0"/>
    <p:restoredTop sz="95889" autoAdjust="0"/>
  </p:normalViewPr>
  <p:slideViewPr>
    <p:cSldViewPr>
      <p:cViewPr varScale="1">
        <p:scale>
          <a:sx n="147" d="100"/>
          <a:sy n="147" d="100"/>
        </p:scale>
        <p:origin x="-672" y="-10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54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8" d="100"/>
          <a:sy n="68" d="100"/>
        </p:scale>
        <p:origin x="-2808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'1.0' encoding='UTF-8' standalone='yes'?>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7" Type="http://schemas.openxmlformats.org/officeDocument/2006/relationships/tableStyles" Target="tableStyles.xml"/><Relationship Id="rId46" Type="http://schemas.openxmlformats.org/officeDocument/2006/relationships/viewProps" Target="viewProps.xml"/><Relationship Id="rId45" Type="http://schemas.openxmlformats.org/officeDocument/2006/relationships/presProps" Target="presProps.xml"/><Relationship Id="rId44" Type="http://schemas.openxmlformats.org/officeDocument/2006/relationships/handoutMaster" Target="handoutMasters/handoutMaster1.xml"/><Relationship Id="rId43" Type="http://schemas.openxmlformats.org/officeDocument/2006/relationships/slide" Target="slides/slide40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notesMaster" Target="notesMasters/notesMaster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3CC7B-F96E-4B2C-992B-B794D87698E3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1FB53-074E-453F-8BCF-006D7CFC3CA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'1.0' encoding='UTF-8' standalone='yes'?>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'1.0' encoding='UTF-8' standalone='yes'?>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4.xml.rels><?xml version='1.0' encoding='UTF-8' standalone='yes'?>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5.xml.rels><?xml version='1.0' encoding='UTF-8' standalone='yes'?>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1FB53-074E-453F-8BCF-006D7CFC3CA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1FB53-074E-453F-8BCF-006D7CFC3CA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点击即可编辑点击即可编辑点击即可编辑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1FB53-074E-453F-8BCF-006D7CFC3CA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点击即可编辑点击即可编辑点击即可编辑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1FB53-074E-453F-8BCF-006D7CFC3CA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点击即可编辑点击即可编辑点击即可编辑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1FB53-074E-453F-8BCF-006D7CFC3CA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'1.0' encoding='UTF-8' standalone='yes'?>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-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30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2-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30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'1.0' encoding='UTF-8' standalone='yes'?>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/>
            </a:gs>
            <a:gs pos="100000">
              <a:srgbClr val="C00000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15"/>
          <a:stretch>
            <a:fillRect/>
          </a:stretch>
        </p:blipFill>
        <p:spPr bwMode="auto">
          <a:xfrm>
            <a:off x="0" y="-6102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'1.0' encoding='UTF-8' standalone='yes'?>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.xml"/><Relationship Id="rId4" Type="http://schemas.microsoft.com/office/2007/relationships/hdphoto" Target="../media/image6.wdp"/><Relationship Id="rId3" Type="http://schemas.openxmlformats.org/officeDocument/2006/relationships/image" Target="../media/image5.png"/><Relationship Id="rId2" Type="http://schemas.microsoft.com/office/2007/relationships/hdphoto" Target="../media/image4.wdp"/><Relationship Id="rId1" Type="http://schemas.openxmlformats.org/officeDocument/2006/relationships/image" Target="../media/image3.pn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'1.0' encoding='UTF-8' standalone='yes'?>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3.png"/></Relationships>
</file>

<file path=ppt/slides/_rels/slide2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'1.0' encoding='UTF-8' standalone='yes'?>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3.png"/></Relationships>
</file>

<file path=ppt/slides/_rels/slide3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'1.0' encoding='UTF-8' standalone='yes'?>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34.xml.rels><?xml version='1.0' encoding='UTF-8' standalone='yes'?>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3.png"/></Relationships>
</file>

<file path=ppt/slides/_rels/slide3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'1.0' encoding='UTF-8' standalone='yes'?>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5.xml.rels><?xml version='1.0' encoding='UTF-8' standalone='yes'?>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emf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'1.0' encoding='UTF-8' standalone='yes'?>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'1.0' encoding='UTF-8' standalone='yes'?>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7.emf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Documents and Settings\Administrator\桌面\1.png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54" r="9170" b="22968"/>
          <a:stretch>
            <a:fillRect/>
          </a:stretch>
        </p:blipFill>
        <p:spPr bwMode="auto">
          <a:xfrm>
            <a:off x="3451202" y="1059582"/>
            <a:ext cx="2009378" cy="188879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"/>
          <p:cNvSpPr>
            <a:spLocks noChangeArrowheads="1"/>
          </p:cNvSpPr>
          <p:nvPr/>
        </p:nvSpPr>
        <p:spPr bwMode="auto">
          <a:xfrm>
            <a:off x="1661571" y="3219822"/>
            <a:ext cx="6006773" cy="769441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zh-CN" altLang="en-US" sz="4400" dirty="0" smtClean="0">
                <a:solidFill>
                  <a:schemeClr val="bg1"/>
                </a:solidFill>
                <a:latin typeface="方正兰亭粗黑简体" pitchFamily="2" charset="-122"/>
                <a:ea typeface="方正兰亭粗黑简体" pitchFamily="2" charset="-122"/>
                <a:cs typeface="Segoe UI" panose="020B0502040204020203"/>
              </a:rPr>
              <a:t>中国工商银行</a:t>
            </a:r>
            <a:r>
              <a:rPr lang="en-US" altLang="zh-CN" sz="4400" dirty="0" smtClean="0">
                <a:solidFill>
                  <a:schemeClr val="bg1"/>
                </a:solidFill>
                <a:latin typeface="方正兰亭粗黑简体" pitchFamily="2" charset="-122"/>
                <a:ea typeface="方正兰亭粗黑简体" pitchFamily="2" charset="-122"/>
                <a:cs typeface="Segoe UI" panose="020B0502040204020203"/>
              </a:rPr>
              <a:t>PPT</a:t>
            </a:r>
            <a:r>
              <a:rPr lang="zh-CN" altLang="en-US" sz="4400" dirty="0" smtClean="0">
                <a:solidFill>
                  <a:schemeClr val="bg1"/>
                </a:solidFill>
                <a:latin typeface="方正兰亭粗黑简体" pitchFamily="2" charset="-122"/>
                <a:ea typeface="方正兰亭粗黑简体" pitchFamily="2" charset="-122"/>
                <a:cs typeface="Segoe UI" panose="020B0502040204020203"/>
              </a:rPr>
              <a:t>模板</a:t>
            </a:r>
            <a:endParaRPr lang="en-US" altLang="zh-CN" sz="4400" dirty="0" smtClean="0">
              <a:solidFill>
                <a:schemeClr val="bg1"/>
              </a:solidFill>
              <a:latin typeface="方正兰亭粗黑简体" pitchFamily="2" charset="-122"/>
              <a:ea typeface="方正兰亭粗黑简体" pitchFamily="2" charset="-122"/>
              <a:cs typeface="Segoe UI" panose="020B0502040204020203"/>
            </a:endParaRPr>
          </a:p>
        </p:txBody>
      </p:sp>
      <p:sp>
        <p:nvSpPr>
          <p:cNvPr id="13" name="Title 1"/>
          <p:cNvSpPr txBox="1"/>
          <p:nvPr/>
        </p:nvSpPr>
        <p:spPr>
          <a:xfrm>
            <a:off x="2195736" y="3629223"/>
            <a:ext cx="4959201" cy="114262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zh-CN" altLang="en-US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商银行</a:t>
            </a:r>
            <a:r>
              <a:rPr lang="en-US" altLang="zh-CN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融理财</a:t>
            </a:r>
            <a:r>
              <a:rPr lang="en-US" altLang="zh-CN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绩汇报</a:t>
            </a:r>
            <a:r>
              <a:rPr lang="en-US" altLang="zh-CN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作总结</a:t>
            </a:r>
            <a:r>
              <a:rPr lang="en-US" altLang="zh-CN" sz="2000" b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endParaRPr lang="en-US" altLang="zh-CN" sz="2000" b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 descr="C:\Documents and Settings\Administrator\桌面\未标题-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11460"/>
            <a:ext cx="2679026" cy="704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 advClick="0" advTm="1000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左箭头 2"/>
          <p:cNvSpPr/>
          <p:nvPr/>
        </p:nvSpPr>
        <p:spPr>
          <a:xfrm flipH="1">
            <a:off x="3555905" y="934968"/>
            <a:ext cx="2491650" cy="2313675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椭圆 3"/>
          <p:cNvSpPr/>
          <p:nvPr/>
        </p:nvSpPr>
        <p:spPr bwMode="auto">
          <a:xfrm>
            <a:off x="3754646" y="648692"/>
            <a:ext cx="1779750" cy="177975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3743578" y="1393470"/>
            <a:ext cx="1755530" cy="33855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3731349" y="2424343"/>
            <a:ext cx="1601775" cy="1958791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895123" y="2873508"/>
            <a:ext cx="1414246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</a:t>
            </a:r>
            <a:r>
              <a:rPr lang="zh-CN" altLang="en-US" sz="1400" spc="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本</a:t>
            </a:r>
            <a:endParaRPr lang="en-US" altLang="zh-CN" sz="1400" spc="50" dirty="0" smtClean="0">
              <a:ln w="11430"/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本</a:t>
            </a:r>
            <a:endParaRPr lang="zh-CN" altLang="en-US" sz="1400" spc="50" dirty="0" smtClean="0">
              <a:ln w="11430"/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左箭头 12"/>
          <p:cNvSpPr/>
          <p:nvPr/>
        </p:nvSpPr>
        <p:spPr>
          <a:xfrm flipH="1">
            <a:off x="914400" y="1271917"/>
            <a:ext cx="2491650" cy="2313675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椭圆 13"/>
          <p:cNvSpPr/>
          <p:nvPr/>
        </p:nvSpPr>
        <p:spPr bwMode="auto">
          <a:xfrm>
            <a:off x="1077337" y="1014755"/>
            <a:ext cx="1779750" cy="1779750"/>
          </a:xfrm>
          <a:prstGeom prst="ellipse">
            <a:avLst/>
          </a:prstGeom>
          <a:solidFill>
            <a:srgbClr val="7D7D7D"/>
          </a:soli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89FF8C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14"/>
          <p:cNvSpPr txBox="1"/>
          <p:nvPr/>
        </p:nvSpPr>
        <p:spPr bwMode="auto">
          <a:xfrm>
            <a:off x="1089447" y="1732024"/>
            <a:ext cx="1755530" cy="33855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1095171" y="2773199"/>
            <a:ext cx="1601775" cy="1958791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1213538" y="3212703"/>
            <a:ext cx="1414246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</a:t>
            </a:r>
            <a:r>
              <a:rPr lang="zh-CN" altLang="en-US" sz="1400" spc="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本</a:t>
            </a:r>
            <a:endParaRPr lang="en-US" altLang="zh-CN" sz="1400" spc="50" dirty="0" smtClean="0">
              <a:ln w="11430"/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本</a:t>
            </a:r>
            <a:endParaRPr lang="zh-CN" altLang="en-US" sz="1400" spc="50" dirty="0" smtClean="0">
              <a:ln w="11430"/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左箭头 18"/>
          <p:cNvSpPr/>
          <p:nvPr/>
        </p:nvSpPr>
        <p:spPr>
          <a:xfrm flipH="1">
            <a:off x="6328822" y="563744"/>
            <a:ext cx="2491650" cy="2313675"/>
          </a:xfrm>
          <a:prstGeom prst="leftArrow">
            <a:avLst>
              <a:gd name="adj1" fmla="val 70395"/>
              <a:gd name="adj2" fmla="val 30068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073600" lon="0" rev="0"/>
            </a:camera>
            <a:lightRig rig="flat" dir="t"/>
          </a:scene3d>
          <a:sp3d extrusionH="1016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椭圆 19"/>
          <p:cNvSpPr/>
          <p:nvPr/>
        </p:nvSpPr>
        <p:spPr bwMode="auto">
          <a:xfrm>
            <a:off x="6527563" y="277468"/>
            <a:ext cx="1779750" cy="1779750"/>
          </a:xfrm>
          <a:prstGeom prst="ellipse">
            <a:avLst/>
          </a:prstGeom>
          <a:solidFill>
            <a:srgbClr val="DE0000"/>
          </a:solidFill>
          <a:ln w="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399997" lon="0" rev="0"/>
            </a:camera>
            <a:lightRig rig="flat" dir="t"/>
          </a:scene3d>
          <a:sp3d extrusionH="127000">
            <a:bevelT w="254000" h="254000" prst="artDeco"/>
            <a:extrusionClr>
              <a:schemeClr val="bg1">
                <a:lumMod val="85000"/>
              </a:schemeClr>
            </a:extrusionClr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5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6516495" y="1022246"/>
            <a:ext cx="1755530" cy="33855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6504266" y="2053119"/>
            <a:ext cx="1601775" cy="1958791"/>
          </a:xfrm>
          <a:prstGeom prst="rect">
            <a:avLst/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6668040" y="2502284"/>
            <a:ext cx="1414246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</a:t>
            </a:r>
            <a:r>
              <a:rPr lang="zh-CN" altLang="en-US" sz="1400" spc="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本</a:t>
            </a:r>
            <a:endParaRPr lang="en-US" altLang="zh-CN" sz="1400" spc="50" dirty="0" smtClean="0">
              <a:ln w="11430"/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 smtClean="0">
                <a:ln w="11430"/>
                <a:solidFill>
                  <a:schemeClr val="tx2">
                    <a:lumMod val="5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本</a:t>
            </a:r>
            <a:endParaRPr lang="zh-CN" altLang="en-US" sz="1400" spc="50" dirty="0" smtClean="0">
              <a:ln w="11430"/>
              <a:solidFill>
                <a:schemeClr val="tx2">
                  <a:lumMod val="50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500"/>
                            </p:stCondLst>
                            <p:childTnLst>
                              <p:par>
                                <p:cTn id="6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6" grpId="0" animBg="1"/>
      <p:bldP spid="7" grpId="0"/>
      <p:bldP spid="13" grpId="0" animBg="1"/>
      <p:bldP spid="14" grpId="0" animBg="1"/>
      <p:bldP spid="15" grpId="0"/>
      <p:bldP spid="16" grpId="0" animBg="1"/>
      <p:bldP spid="17" grpId="0"/>
      <p:bldP spid="19" grpId="0" animBg="1"/>
      <p:bldP spid="20" grpId="0" animBg="1"/>
      <p:bldP spid="21" grpId="0"/>
      <p:bldP spid="22" grpId="0" animBg="1"/>
      <p:bldP spid="2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上箭头 2"/>
          <p:cNvSpPr/>
          <p:nvPr/>
        </p:nvSpPr>
        <p:spPr>
          <a:xfrm>
            <a:off x="827584" y="2596003"/>
            <a:ext cx="2160000" cy="1440000"/>
          </a:xfrm>
          <a:prstGeom prst="upArrow">
            <a:avLst>
              <a:gd name="adj1" fmla="val 73545"/>
              <a:gd name="adj2" fmla="val 49683"/>
            </a:avLst>
          </a:prstGeom>
          <a:solidFill>
            <a:schemeClr val="tx2">
              <a:lumMod val="75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/>
            <a:lightRig rig="flood" dir="t"/>
          </a:scene3d>
          <a:sp3d extrusionH="304800" contourW="19050">
            <a:bevelT prst="convex"/>
            <a:bevelB w="0" h="381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indent="-363855" algn="ctr" eaLnBrk="0" fontAlgn="ctr" hangingPunct="0">
              <a:lnSpc>
                <a:spcPct val="14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上箭头 3"/>
          <p:cNvSpPr/>
          <p:nvPr/>
        </p:nvSpPr>
        <p:spPr>
          <a:xfrm>
            <a:off x="3438834" y="1994753"/>
            <a:ext cx="2160000" cy="2160000"/>
          </a:xfrm>
          <a:prstGeom prst="upArrow">
            <a:avLst>
              <a:gd name="adj1" fmla="val 71345"/>
              <a:gd name="adj2" fmla="val 49683"/>
            </a:avLst>
          </a:prstGeom>
          <a:gradFill flip="none" rotWithShape="1">
            <a:gsLst>
              <a:gs pos="0">
                <a:srgbClr val="FF0000"/>
              </a:gs>
              <a:gs pos="100000">
                <a:srgbClr val="FFC000"/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/>
            <a:lightRig rig="flood" dir="t"/>
          </a:scene3d>
          <a:sp3d extrusionH="304800">
            <a:bevelT w="101600" prst="convex"/>
            <a:bevelB w="0" h="38100"/>
            <a:contourClr>
              <a:srgbClr val="FFFF00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lnSpc>
                <a:spcPct val="14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上箭头 4"/>
          <p:cNvSpPr/>
          <p:nvPr/>
        </p:nvSpPr>
        <p:spPr>
          <a:xfrm>
            <a:off x="6050085" y="1357878"/>
            <a:ext cx="2160000" cy="2880000"/>
          </a:xfrm>
          <a:prstGeom prst="upArrow">
            <a:avLst>
              <a:gd name="adj1" fmla="val 70246"/>
              <a:gd name="adj2" fmla="val 49683"/>
            </a:avLst>
          </a:prstGeom>
          <a:gradFill flip="none" rotWithShape="1">
            <a:gsLst>
              <a:gs pos="0">
                <a:srgbClr val="DE0000"/>
              </a:gs>
              <a:gs pos="90000">
                <a:srgbClr val="FF0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/>
            <a:lightRig rig="flood" dir="t"/>
          </a:scene3d>
          <a:sp3d extrusionH="3048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indent="-363855" algn="ctr" defTabSz="913130" eaLnBrk="0" fontAlgn="ctr" hangingPunc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0"/>
          <p:cNvSpPr txBox="1">
            <a:spLocks noChangeArrowheads="1"/>
          </p:cNvSpPr>
          <p:nvPr/>
        </p:nvSpPr>
        <p:spPr bwMode="auto">
          <a:xfrm>
            <a:off x="6561010" y="3316003"/>
            <a:ext cx="1138237" cy="3381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00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3885709" y="3299889"/>
            <a:ext cx="1262063" cy="3381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000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12"/>
          <p:cNvSpPr txBox="1">
            <a:spLocks noChangeArrowheads="1"/>
          </p:cNvSpPr>
          <p:nvPr/>
        </p:nvSpPr>
        <p:spPr bwMode="auto">
          <a:xfrm>
            <a:off x="1234947" y="3299889"/>
            <a:ext cx="1346200" cy="3381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en-US" altLang="zh-CN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0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1097584" y="1973981"/>
            <a:ext cx="1620000" cy="90000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3708834" y="1522720"/>
            <a:ext cx="1620000" cy="90000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6320085" y="1059582"/>
            <a:ext cx="1620000" cy="90000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115885" y="2161652"/>
            <a:ext cx="1584325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781297" y="1710802"/>
            <a:ext cx="1474788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359397" y="1247252"/>
            <a:ext cx="1541463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7" grpId="0"/>
      <p:bldP spid="8" grpId="0"/>
      <p:bldP spid="9" grpId="0"/>
      <p:bldP spid="10" grpId="0" animBg="1"/>
      <p:bldP spid="11" grpId="0" animBg="1"/>
      <p:bldP spid="12" grpId="0" animBg="1"/>
      <p:bldP spid="13" grpId="0"/>
      <p:bldP spid="14" grpId="0"/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4"/>
          <p:cNvGrpSpPr>
            <a:grpSpLocks noChangeAspect="1"/>
          </p:cNvGrpSpPr>
          <p:nvPr/>
        </p:nvGrpSpPr>
        <p:grpSpPr bwMode="auto">
          <a:xfrm>
            <a:off x="4979345" y="771550"/>
            <a:ext cx="1008064" cy="1008062"/>
            <a:chOff x="4776635" y="4404800"/>
            <a:chExt cx="1011865" cy="1008000"/>
          </a:xfrm>
          <a:effectLst/>
        </p:grpSpPr>
        <p:sp>
          <p:nvSpPr>
            <p:cNvPr id="5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椭圆 5"/>
            <p:cNvSpPr/>
            <p:nvPr/>
          </p:nvSpPr>
          <p:spPr>
            <a:xfrm rot="19388639">
              <a:off x="4776635" y="4463533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7" name="椭圆 6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8" name="TextBox 147"/>
          <p:cNvSpPr txBox="1">
            <a:spLocks noChangeArrowheads="1"/>
          </p:cNvSpPr>
          <p:nvPr/>
        </p:nvSpPr>
        <p:spPr bwMode="auto">
          <a:xfrm>
            <a:off x="4952359" y="1122387"/>
            <a:ext cx="1062038" cy="3079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 defTabSz="913130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本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" name="组合 34"/>
          <p:cNvGrpSpPr>
            <a:grpSpLocks noChangeAspect="1"/>
          </p:cNvGrpSpPr>
          <p:nvPr/>
        </p:nvGrpSpPr>
        <p:grpSpPr bwMode="auto">
          <a:xfrm>
            <a:off x="4979347" y="2125687"/>
            <a:ext cx="1008062" cy="1008063"/>
            <a:chOff x="4776637" y="4404800"/>
            <a:chExt cx="1011863" cy="1008000"/>
          </a:xfrm>
          <a:effectLst/>
        </p:grpSpPr>
        <p:sp>
          <p:nvSpPr>
            <p:cNvPr id="10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fr-FR" altLang="zh-CN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 rot="19388639">
              <a:off x="4776637" y="4463534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chemeClr val="tx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Box 147"/>
          <p:cNvSpPr txBox="1">
            <a:spLocks noChangeArrowheads="1"/>
          </p:cNvSpPr>
          <p:nvPr/>
        </p:nvSpPr>
        <p:spPr bwMode="auto">
          <a:xfrm>
            <a:off x="4952359" y="2476525"/>
            <a:ext cx="1062038" cy="3079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 defTabSz="913130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本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34"/>
          <p:cNvGrpSpPr>
            <a:grpSpLocks noChangeAspect="1"/>
          </p:cNvGrpSpPr>
          <p:nvPr/>
        </p:nvGrpSpPr>
        <p:grpSpPr bwMode="auto">
          <a:xfrm>
            <a:off x="4979347" y="3483000"/>
            <a:ext cx="1008062" cy="1008062"/>
            <a:chOff x="4776637" y="4404800"/>
            <a:chExt cx="1011863" cy="1008000"/>
          </a:xfrm>
          <a:effectLst/>
        </p:grpSpPr>
        <p:sp>
          <p:nvSpPr>
            <p:cNvPr id="15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 rot="19388639">
              <a:off x="4776637" y="4463533"/>
              <a:ext cx="683605" cy="466696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 dirty="0">
                <a:solidFill>
                  <a:srgbClr val="FFFFFF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17" name="椭圆 16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/>
            </a:p>
          </p:txBody>
        </p:sp>
      </p:grpSp>
      <p:sp>
        <p:nvSpPr>
          <p:cNvPr id="18" name="TextBox 147"/>
          <p:cNvSpPr txBox="1">
            <a:spLocks noChangeArrowheads="1"/>
          </p:cNvSpPr>
          <p:nvPr/>
        </p:nvSpPr>
        <p:spPr bwMode="auto">
          <a:xfrm>
            <a:off x="4952359" y="3832250"/>
            <a:ext cx="1062038" cy="3079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 defTabSz="913130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本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87"/>
          <p:cNvSpPr>
            <a:spLocks noChangeArrowheads="1"/>
          </p:cNvSpPr>
          <p:nvPr/>
        </p:nvSpPr>
        <p:spPr bwMode="auto">
          <a:xfrm>
            <a:off x="6136634" y="830287"/>
            <a:ext cx="156527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87"/>
          <p:cNvSpPr>
            <a:spLocks noChangeArrowheads="1"/>
          </p:cNvSpPr>
          <p:nvPr/>
        </p:nvSpPr>
        <p:spPr bwMode="auto">
          <a:xfrm>
            <a:off x="6136634" y="1131912"/>
            <a:ext cx="156527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87"/>
          <p:cNvSpPr>
            <a:spLocks noChangeArrowheads="1"/>
          </p:cNvSpPr>
          <p:nvPr/>
        </p:nvSpPr>
        <p:spPr bwMode="auto">
          <a:xfrm>
            <a:off x="6136634" y="1433537"/>
            <a:ext cx="1506538" cy="3079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AutoShape 60"/>
          <p:cNvSpPr>
            <a:spLocks noChangeArrowheads="1"/>
          </p:cNvSpPr>
          <p:nvPr/>
        </p:nvSpPr>
        <p:spPr bwMode="auto">
          <a:xfrm>
            <a:off x="971600" y="1304950"/>
            <a:ext cx="3780000" cy="2667000"/>
          </a:xfrm>
          <a:prstGeom prst="rightArrow">
            <a:avLst>
              <a:gd name="adj1" fmla="val 68039"/>
              <a:gd name="adj2" fmla="val 41129"/>
            </a:avLst>
          </a:prstGeom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14"/>
          <p:cNvSpPr>
            <a:spLocks noChangeArrowheads="1"/>
          </p:cNvSpPr>
          <p:nvPr/>
        </p:nvSpPr>
        <p:spPr bwMode="auto">
          <a:xfrm>
            <a:off x="3493432" y="2393756"/>
            <a:ext cx="1273175" cy="5238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kumimoji="1"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</a:t>
            </a:r>
            <a:endParaRPr kumimoji="1" lang="en-US" altLang="zh-CN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文本</a:t>
            </a:r>
            <a:endParaRPr kumimoji="1" lang="zh-CN" altLang="en-US" sz="14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4" name="组合 26"/>
          <p:cNvGrpSpPr>
            <a:grpSpLocks noChangeAspect="1"/>
          </p:cNvGrpSpPr>
          <p:nvPr/>
        </p:nvGrpSpPr>
        <p:grpSpPr bwMode="auto">
          <a:xfrm>
            <a:off x="2806059" y="2200300"/>
            <a:ext cx="884238" cy="896937"/>
            <a:chOff x="1321939" y="2463785"/>
            <a:chExt cx="415318" cy="2705673"/>
          </a:xfrm>
          <a:effectLst/>
        </p:grpSpPr>
        <p:sp>
          <p:nvSpPr>
            <p:cNvPr id="25" name="圆角矩形 24"/>
            <p:cNvSpPr/>
            <p:nvPr/>
          </p:nvSpPr>
          <p:spPr>
            <a:xfrm>
              <a:off x="1321939" y="2463785"/>
              <a:ext cx="415318" cy="2705673"/>
            </a:xfrm>
            <a:prstGeom prst="roundRect">
              <a:avLst>
                <a:gd name="adj" fmla="val 10568"/>
              </a:avLst>
            </a:prstGeom>
            <a:solidFill>
              <a:srgbClr val="DE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矩形 14"/>
            <p:cNvSpPr>
              <a:spLocks noChangeArrowheads="1"/>
            </p:cNvSpPr>
            <p:nvPr/>
          </p:nvSpPr>
          <p:spPr bwMode="auto">
            <a:xfrm>
              <a:off x="1329654" y="2934457"/>
              <a:ext cx="399887" cy="176433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</a:t>
              </a:r>
              <a:endParaRPr kumimoji="1" lang="en-US" altLang="zh-CN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 smtClean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kumimoji="1"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7" name="矩形 87"/>
          <p:cNvSpPr>
            <a:spLocks noChangeArrowheads="1"/>
          </p:cNvSpPr>
          <p:nvPr/>
        </p:nvSpPr>
        <p:spPr bwMode="auto">
          <a:xfrm>
            <a:off x="6160447" y="2143150"/>
            <a:ext cx="1565275" cy="3063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87"/>
          <p:cNvSpPr>
            <a:spLocks noChangeArrowheads="1"/>
          </p:cNvSpPr>
          <p:nvPr/>
        </p:nvSpPr>
        <p:spPr bwMode="auto">
          <a:xfrm>
            <a:off x="6160447" y="2444775"/>
            <a:ext cx="156527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 87"/>
          <p:cNvSpPr>
            <a:spLocks noChangeArrowheads="1"/>
          </p:cNvSpPr>
          <p:nvPr/>
        </p:nvSpPr>
        <p:spPr bwMode="auto">
          <a:xfrm>
            <a:off x="6160447" y="2746400"/>
            <a:ext cx="1506537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87"/>
          <p:cNvSpPr>
            <a:spLocks noChangeArrowheads="1"/>
          </p:cNvSpPr>
          <p:nvPr/>
        </p:nvSpPr>
        <p:spPr bwMode="auto">
          <a:xfrm>
            <a:off x="6160447" y="3557612"/>
            <a:ext cx="156527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87"/>
          <p:cNvSpPr>
            <a:spLocks noChangeArrowheads="1"/>
          </p:cNvSpPr>
          <p:nvPr/>
        </p:nvSpPr>
        <p:spPr bwMode="auto">
          <a:xfrm>
            <a:off x="6160447" y="3859237"/>
            <a:ext cx="156527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87"/>
          <p:cNvSpPr>
            <a:spLocks noChangeArrowheads="1"/>
          </p:cNvSpPr>
          <p:nvPr/>
        </p:nvSpPr>
        <p:spPr bwMode="auto">
          <a:xfrm>
            <a:off x="6160447" y="4160862"/>
            <a:ext cx="1506537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eaLnBrk="0" fontAlgn="ctr" hangingPunct="0">
              <a:buClr>
                <a:srgbClr val="FF0000"/>
              </a:buClr>
              <a:buSzPct val="70000"/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AutoShape 593"/>
          <p:cNvSpPr>
            <a:spLocks noChangeArrowheads="1"/>
          </p:cNvSpPr>
          <p:nvPr/>
        </p:nvSpPr>
        <p:spPr bwMode="auto">
          <a:xfrm rot="10800000" flipH="1" flipV="1">
            <a:off x="2297347" y="2494353"/>
            <a:ext cx="396000" cy="360000"/>
          </a:xfrm>
          <a:prstGeom prst="chevron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/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en-US" sz="16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" name="组合 26"/>
          <p:cNvGrpSpPr>
            <a:grpSpLocks noChangeAspect="1"/>
          </p:cNvGrpSpPr>
          <p:nvPr/>
        </p:nvGrpSpPr>
        <p:grpSpPr bwMode="auto">
          <a:xfrm>
            <a:off x="1351910" y="2200300"/>
            <a:ext cx="884237" cy="896937"/>
            <a:chOff x="1317289" y="2463785"/>
            <a:chExt cx="415318" cy="2705673"/>
          </a:xfrm>
          <a:effectLst/>
        </p:grpSpPr>
        <p:sp>
          <p:nvSpPr>
            <p:cNvPr id="35" name="圆角矩形 34"/>
            <p:cNvSpPr/>
            <p:nvPr/>
          </p:nvSpPr>
          <p:spPr>
            <a:xfrm>
              <a:off x="1317289" y="2463785"/>
              <a:ext cx="415318" cy="2705673"/>
            </a:xfrm>
            <a:prstGeom prst="roundRect">
              <a:avLst>
                <a:gd name="adj" fmla="val 10568"/>
              </a:avLst>
            </a:prstGeom>
            <a:solidFill>
              <a:srgbClr val="DE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矩形 14"/>
            <p:cNvSpPr>
              <a:spLocks noChangeArrowheads="1"/>
            </p:cNvSpPr>
            <p:nvPr/>
          </p:nvSpPr>
          <p:spPr bwMode="auto">
            <a:xfrm>
              <a:off x="1325004" y="2934457"/>
              <a:ext cx="399887" cy="1764331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</a:t>
              </a:r>
              <a:endParaRPr kumimoji="1" lang="en-US" altLang="zh-CN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kumimoji="1"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500"/>
                            </p:stCondLst>
                            <p:childTnLst>
                              <p:par>
                                <p:cTn id="5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0"/>
                            </p:stCondLst>
                            <p:childTnLst>
                              <p:par>
                                <p:cTn id="5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000"/>
                            </p:stCondLst>
                            <p:childTnLst>
                              <p:par>
                                <p:cTn id="6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500"/>
                            </p:stCondLst>
                            <p:childTnLst>
                              <p:par>
                                <p:cTn id="7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000"/>
                            </p:stCondLst>
                            <p:childTnLst>
                              <p:par>
                                <p:cTn id="7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7500"/>
                            </p:stCondLst>
                            <p:childTnLst>
                              <p:par>
                                <p:cTn id="8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000"/>
                            </p:stCondLst>
                            <p:childTnLst>
                              <p:par>
                                <p:cTn id="8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8500"/>
                            </p:stCondLst>
                            <p:childTnLst>
                              <p:par>
                                <p:cTn id="9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000"/>
                            </p:stCondLst>
                            <p:childTnLst>
                              <p:par>
                                <p:cTn id="10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9500"/>
                            </p:stCondLst>
                            <p:childTnLst>
                              <p:par>
                                <p:cTn id="10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/>
      <p:bldP spid="18" grpId="0"/>
      <p:bldP spid="19" grpId="0"/>
      <p:bldP spid="20" grpId="0"/>
      <p:bldP spid="21" grpId="0"/>
      <p:bldP spid="22" grpId="0" animBg="1"/>
      <p:bldP spid="23" grpId="0"/>
      <p:bldP spid="27" grpId="0"/>
      <p:bldP spid="28" grpId="0"/>
      <p:bldP spid="29" grpId="0"/>
      <p:bldP spid="30" grpId="0"/>
      <p:bldP spid="31" grpId="0"/>
      <p:bldP spid="32" grpId="0"/>
      <p:bldP spid="3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7"/>
          <p:cNvSpPr>
            <a:spLocks noChangeArrowheads="1"/>
          </p:cNvSpPr>
          <p:nvPr/>
        </p:nvSpPr>
        <p:spPr bwMode="gray">
          <a:xfrm>
            <a:off x="755576" y="1587931"/>
            <a:ext cx="7560000" cy="2628000"/>
          </a:xfrm>
          <a:prstGeom prst="roundRect">
            <a:avLst>
              <a:gd name="adj" fmla="val 3080"/>
            </a:avLst>
          </a:prstGeom>
          <a:gradFill flip="none" rotWithShape="1">
            <a:gsLst>
              <a:gs pos="0">
                <a:schemeClr val="bg1">
                  <a:lumMod val="65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54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2700000">
              <a:rot lat="18000000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左箭头 4"/>
          <p:cNvSpPr/>
          <p:nvPr/>
        </p:nvSpPr>
        <p:spPr>
          <a:xfrm flipH="1">
            <a:off x="3789258" y="2041102"/>
            <a:ext cx="1620000" cy="1620000"/>
          </a:xfrm>
          <a:prstGeom prst="leftArrow">
            <a:avLst>
              <a:gd name="adj1" fmla="val 63711"/>
              <a:gd name="adj2" fmla="val 34802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>
              <a:rot lat="17973603" lon="0" rev="0"/>
            </a:camera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环形箭头 5"/>
          <p:cNvSpPr>
            <a:spLocks noChangeAspect="1"/>
          </p:cNvSpPr>
          <p:nvPr/>
        </p:nvSpPr>
        <p:spPr bwMode="auto">
          <a:xfrm>
            <a:off x="5456774" y="1443614"/>
            <a:ext cx="2592000" cy="2592000"/>
          </a:xfrm>
          <a:prstGeom prst="circularArrow">
            <a:avLst>
              <a:gd name="adj1" fmla="val 8252"/>
              <a:gd name="adj2" fmla="val 956003"/>
              <a:gd name="adj3" fmla="val 1309246"/>
              <a:gd name="adj4" fmla="val 3031870"/>
              <a:gd name="adj5" fmla="val 7445"/>
            </a:avLst>
          </a:prstGeom>
          <a:gradFill>
            <a:gsLst>
              <a:gs pos="0">
                <a:srgbClr val="FFC000"/>
              </a:gs>
              <a:gs pos="90000">
                <a:srgbClr val="F03530"/>
              </a:gs>
            </a:gsLst>
            <a:lin ang="2700000" scaled="1"/>
          </a:gradFill>
          <a:ln>
            <a:noFill/>
          </a:ln>
          <a:effectLst>
            <a:outerShdw blurRad="50800" dist="38100" rotWithShape="0">
              <a:srgbClr val="000000">
                <a:alpha val="40000"/>
              </a:srgbClr>
            </a:outerShdw>
          </a:effectLst>
          <a:scene3d>
            <a:camera prst="perspectiveRelaxed">
              <a:rot lat="17673596" lon="0" rev="0"/>
            </a:camera>
            <a:lightRig rig="balanced" dir="t">
              <a:rot lat="0" lon="0" rev="11400000"/>
            </a:lightRig>
          </a:scene3d>
          <a:sp3d extrusionH="158750" contourW="12700" prstMaterial="plastic">
            <a:bevelT w="101600" prst="artDeco"/>
            <a:bevelB w="0" h="25400"/>
            <a:contourClr>
              <a:srgbClr val="FFFF8B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7" name="TextBox 24"/>
          <p:cNvSpPr txBox="1">
            <a:spLocks noChangeArrowheads="1"/>
          </p:cNvSpPr>
          <p:nvPr/>
        </p:nvSpPr>
        <p:spPr bwMode="auto">
          <a:xfrm>
            <a:off x="3796626" y="2736280"/>
            <a:ext cx="1352550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>
            <a:spAutoFit/>
          </a:bodyPr>
          <a:lstStyle/>
          <a:p>
            <a:pPr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递进说明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环形箭头 7"/>
          <p:cNvSpPr>
            <a:spLocks noChangeAspect="1"/>
          </p:cNvSpPr>
          <p:nvPr/>
        </p:nvSpPr>
        <p:spPr bwMode="auto">
          <a:xfrm>
            <a:off x="1098467" y="1443614"/>
            <a:ext cx="2592000" cy="2592000"/>
          </a:xfrm>
          <a:prstGeom prst="circularArrow">
            <a:avLst>
              <a:gd name="adj1" fmla="val 7751"/>
              <a:gd name="adj2" fmla="val 910083"/>
              <a:gd name="adj3" fmla="val 1170549"/>
              <a:gd name="adj4" fmla="val 3031870"/>
              <a:gd name="adj5" fmla="val 7753"/>
            </a:avLst>
          </a:prstGeom>
          <a:solidFill>
            <a:srgbClr val="FF0000"/>
          </a:solidFill>
          <a:ln>
            <a:noFill/>
          </a:ln>
          <a:effectLst>
            <a:outerShdw blurRad="50800" dist="38100" rotWithShape="0">
              <a:srgbClr val="000000">
                <a:alpha val="40000"/>
              </a:srgbClr>
            </a:outerShdw>
          </a:effectLst>
          <a:scene3d>
            <a:camera prst="perspectiveRelaxed">
              <a:rot lat="17673596" lon="0" rev="0"/>
            </a:camera>
            <a:lightRig rig="balanced" dir="t">
              <a:rot lat="0" lon="0" rev="11400000"/>
            </a:lightRig>
          </a:scene3d>
          <a:sp3d extrusionH="158750" contourW="12700" prstMaterial="plastic">
            <a:bevelT w="101600" prst="artDeco"/>
            <a:bevelB w="0" h="25400"/>
            <a:contourClr>
              <a:srgbClr val="DE0000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9" name="Oval 93"/>
          <p:cNvSpPr>
            <a:spLocks noChangeArrowheads="1"/>
          </p:cNvSpPr>
          <p:nvPr/>
        </p:nvSpPr>
        <p:spPr bwMode="auto">
          <a:xfrm>
            <a:off x="1707457" y="1203598"/>
            <a:ext cx="1440000" cy="1151456"/>
          </a:xfrm>
          <a:prstGeom prst="ellipse">
            <a:avLst/>
          </a:prstGeom>
          <a:solidFill>
            <a:srgbClr val="DE0000"/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1800000"/>
            <a:lightRig rig="flat" dir="t"/>
          </a:scene3d>
          <a:sp3d extrusionH="1270000" contourW="19050">
            <a:bevelT w="101600" prst="convex"/>
            <a:bevelB w="0" h="38100"/>
            <a:contourClr>
              <a:srgbClr val="FF0000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 bwMode="auto">
          <a:xfrm>
            <a:off x="1570466" y="1617744"/>
            <a:ext cx="1713982" cy="30777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Oval 93"/>
          <p:cNvSpPr>
            <a:spLocks noChangeArrowheads="1"/>
          </p:cNvSpPr>
          <p:nvPr/>
        </p:nvSpPr>
        <p:spPr bwMode="auto">
          <a:xfrm>
            <a:off x="6039360" y="1203598"/>
            <a:ext cx="1440000" cy="1151456"/>
          </a:xfrm>
          <a:prstGeom prst="ellipse">
            <a:avLst/>
          </a:prstGeom>
          <a:gradFill flip="none" rotWithShape="1">
            <a:gsLst>
              <a:gs pos="0">
                <a:srgbClr val="FFC000"/>
              </a:gs>
              <a:gs pos="90000">
                <a:srgbClr val="F0353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perspectiveRelaxed" fov="1800000"/>
            <a:lightRig rig="flat" dir="t"/>
          </a:scene3d>
          <a:sp3d extrusionH="1270000" contourW="19050">
            <a:bevelT w="101600" prst="convex"/>
            <a:bevelB w="0" h="38100"/>
            <a:contourClr>
              <a:srgbClr val="FFFF8B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5938998" y="1617744"/>
            <a:ext cx="1640724" cy="307777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7" grpId="0"/>
      <p:bldP spid="8" grpId="0" animBg="1"/>
      <p:bldP spid="9" grpId="0" animBg="1"/>
      <p:bldP spid="10" grpId="0"/>
      <p:bldP spid="11" grpId="0" animBg="1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entagon 3"/>
          <p:cNvSpPr>
            <a:spLocks noChangeArrowheads="1"/>
          </p:cNvSpPr>
          <p:nvPr/>
        </p:nvSpPr>
        <p:spPr bwMode="auto">
          <a:xfrm>
            <a:off x="899592" y="1203598"/>
            <a:ext cx="2971893" cy="1539146"/>
          </a:xfrm>
          <a:prstGeom prst="homePlate">
            <a:avLst>
              <a:gd name="adj" fmla="val 4999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100000">
                <a:schemeClr val="tx1">
                  <a:lumMod val="85000"/>
                </a:schemeClr>
              </a:gs>
            </a:gsLst>
            <a:lin ang="16200000" scaled="1"/>
            <a:tileRect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bg1"/>
              </a:solidFill>
              <a:latin typeface="+mn-lt"/>
              <a:ea typeface="MS PGothic" panose="020B0600070205080204" pitchFamily="-105" charset="-128"/>
              <a:cs typeface="MS PGothic" panose="020B0600070205080204" pitchFamily="-105" charset="-128"/>
            </a:endParaRPr>
          </a:p>
        </p:txBody>
      </p:sp>
      <p:sp>
        <p:nvSpPr>
          <p:cNvPr id="4" name="Chevron 4"/>
          <p:cNvSpPr>
            <a:spLocks noChangeArrowheads="1"/>
          </p:cNvSpPr>
          <p:nvPr/>
        </p:nvSpPr>
        <p:spPr bwMode="auto">
          <a:xfrm>
            <a:off x="3231632" y="1203598"/>
            <a:ext cx="2971893" cy="1539146"/>
          </a:xfrm>
          <a:prstGeom prst="chevron">
            <a:avLst>
              <a:gd name="adj" fmla="val 49997"/>
            </a:avLst>
          </a:prstGeom>
          <a:gradFill flip="none" rotWithShape="1">
            <a:gsLst>
              <a:gs pos="0">
                <a:srgbClr val="DE0000"/>
              </a:gs>
              <a:gs pos="100000">
                <a:srgbClr val="FF0000"/>
              </a:gs>
            </a:gsLst>
            <a:lin ang="16200000" scaled="1"/>
            <a:tileRect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bg1"/>
              </a:solidFill>
              <a:latin typeface="+mn-lt"/>
              <a:ea typeface="MS PGothic" panose="020B0600070205080204" pitchFamily="-105" charset="-128"/>
              <a:cs typeface="MS PGothic" panose="020B0600070205080204" pitchFamily="-105" charset="-128"/>
            </a:endParaRPr>
          </a:p>
        </p:txBody>
      </p:sp>
      <p:sp>
        <p:nvSpPr>
          <p:cNvPr id="5" name="Chevron 5"/>
          <p:cNvSpPr>
            <a:spLocks noChangeArrowheads="1"/>
          </p:cNvSpPr>
          <p:nvPr/>
        </p:nvSpPr>
        <p:spPr bwMode="auto">
          <a:xfrm>
            <a:off x="5576790" y="1203598"/>
            <a:ext cx="2971894" cy="1539146"/>
          </a:xfrm>
          <a:prstGeom prst="chevron">
            <a:avLst>
              <a:gd name="adj" fmla="val 49997"/>
            </a:avLst>
          </a:prstGeom>
          <a:gradFill>
            <a:gsLst>
              <a:gs pos="0">
                <a:srgbClr val="FFC000"/>
              </a:gs>
              <a:gs pos="100000">
                <a:srgbClr val="FF6600"/>
              </a:gs>
            </a:gsLst>
            <a:lin ang="5400000" scaled="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bg1"/>
              </a:solidFill>
              <a:latin typeface="+mn-lt"/>
              <a:ea typeface="MS PGothic" panose="020B0600070205080204" pitchFamily="-105" charset="-128"/>
              <a:cs typeface="MS PGothic" panose="020B0600070205080204" pitchFamily="-105" charset="-128"/>
            </a:endParaRPr>
          </a:p>
        </p:txBody>
      </p:sp>
      <p:sp>
        <p:nvSpPr>
          <p:cNvPr id="6" name="TextBox 99"/>
          <p:cNvSpPr txBox="1">
            <a:spLocks noChangeArrowheads="1"/>
          </p:cNvSpPr>
          <p:nvPr/>
        </p:nvSpPr>
        <p:spPr bwMode="auto">
          <a:xfrm>
            <a:off x="1075952" y="1261899"/>
            <a:ext cx="2155680" cy="132959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标题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defTabSz="914400"/>
            <a:endParaRPr lang="en-US" sz="1400" noProof="1">
              <a:solidFill>
                <a:schemeClr val="bg1"/>
              </a:solidFill>
              <a:latin typeface="Calibri" panose="020F0502020204030204" pitchFamily="-108" charset="0"/>
              <a:cs typeface="Arial" panose="020B0604020202020204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7" name="TextBox 100"/>
          <p:cNvSpPr txBox="1">
            <a:spLocks noChangeArrowheads="1"/>
          </p:cNvSpPr>
          <p:nvPr/>
        </p:nvSpPr>
        <p:spPr bwMode="auto">
          <a:xfrm>
            <a:off x="4092780" y="1261899"/>
            <a:ext cx="1575584" cy="132959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加标题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defTabSz="914400"/>
            <a:endParaRPr lang="en-US" sz="1400" noProof="1">
              <a:solidFill>
                <a:schemeClr val="bg1"/>
              </a:solidFill>
              <a:latin typeface="Calibri" panose="020F0502020204030204" pitchFamily="-108" charset="0"/>
              <a:cs typeface="Arial" panose="020B0604020202020204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容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Box 102"/>
          <p:cNvSpPr txBox="1">
            <a:spLocks noChangeArrowheads="1"/>
          </p:cNvSpPr>
          <p:nvPr/>
        </p:nvSpPr>
        <p:spPr bwMode="auto">
          <a:xfrm>
            <a:off x="6316436" y="1261899"/>
            <a:ext cx="1575585" cy="132959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加标题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defTabSz="914400"/>
            <a:endParaRPr lang="en-US" sz="1400" noProof="1">
              <a:solidFill>
                <a:schemeClr val="bg1"/>
              </a:solidFill>
              <a:latin typeface="Calibri" panose="020F0502020204030204" pitchFamily="-108" charset="0"/>
              <a:cs typeface="Arial" panose="020B0604020202020204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内容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3231632" y="2828738"/>
            <a:ext cx="2203778" cy="1255180"/>
          </a:xfrm>
          <a:prstGeom prst="rect">
            <a:avLst/>
          </a:prstGeom>
          <a:gradFill flip="none" rotWithShape="1">
            <a:gsLst>
              <a:gs pos="0">
                <a:srgbClr val="DE0000"/>
              </a:gs>
              <a:gs pos="100000">
                <a:srgbClr val="FF0000"/>
              </a:gs>
            </a:gsLst>
            <a:lin ang="16200000" scaled="1"/>
            <a:tileRect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576790" y="2824366"/>
            <a:ext cx="2203778" cy="1255180"/>
          </a:xfrm>
          <a:prstGeom prst="rect">
            <a:avLst/>
          </a:prstGeom>
          <a:gradFill flip="none" rotWithShape="1">
            <a:gsLst>
              <a:gs pos="0">
                <a:srgbClr val="FF6600"/>
              </a:gs>
              <a:gs pos="100000">
                <a:srgbClr val="FFA219"/>
              </a:gs>
            </a:gsLst>
            <a:lin ang="16200000" scaled="1"/>
            <a:tileRect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899592" y="2824366"/>
            <a:ext cx="2203778" cy="125518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100000">
                <a:schemeClr val="tx1">
                  <a:lumMod val="85000"/>
                </a:schemeClr>
              </a:gs>
            </a:gsLst>
            <a:lin ang="16200000" scaled="1"/>
            <a:tileRect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ea typeface="MS PGothic" panose="020B0600070205080204" pitchFamily="-105" charset="-128"/>
              <a:cs typeface="MS PGothic" panose="020B0600070205080204" pitchFamily="-105" charset="-128"/>
            </a:endParaRPr>
          </a:p>
        </p:txBody>
      </p:sp>
      <p:sp>
        <p:nvSpPr>
          <p:cNvPr id="12" name="TextBox 99"/>
          <p:cNvSpPr txBox="1">
            <a:spLocks noChangeArrowheads="1"/>
          </p:cNvSpPr>
          <p:nvPr/>
        </p:nvSpPr>
        <p:spPr bwMode="auto">
          <a:xfrm>
            <a:off x="1075952" y="2931790"/>
            <a:ext cx="1980777" cy="8679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3" name="TextBox 99"/>
          <p:cNvSpPr txBox="1">
            <a:spLocks noChangeArrowheads="1"/>
          </p:cNvSpPr>
          <p:nvPr/>
        </p:nvSpPr>
        <p:spPr bwMode="auto">
          <a:xfrm>
            <a:off x="3326371" y="2931790"/>
            <a:ext cx="1980777" cy="8679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4" name="TextBox 99"/>
          <p:cNvSpPr txBox="1">
            <a:spLocks noChangeArrowheads="1"/>
          </p:cNvSpPr>
          <p:nvPr/>
        </p:nvSpPr>
        <p:spPr bwMode="auto">
          <a:xfrm>
            <a:off x="5683190" y="2931790"/>
            <a:ext cx="1980776" cy="8679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eaLnBrk="0" fontAlgn="ctr" hangingPunct="0">
              <a:lnSpc>
                <a:spcPct val="120000"/>
              </a:lnSpc>
              <a:buSzPct val="70000"/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文字内容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/>
      <p:bldP spid="7" grpId="0"/>
      <p:bldP spid="8" grpId="0"/>
      <p:bldP spid="9" grpId="0" animBg="1"/>
      <p:bldP spid="10" grpId="0" animBg="1"/>
      <p:bldP spid="11" grpId="0" animBg="1"/>
      <p:bldP spid="12" grpId="0"/>
      <p:bldP spid="13" grpId="0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65"/>
          <p:cNvSpPr>
            <a:spLocks noChangeArrowheads="1"/>
          </p:cNvSpPr>
          <p:nvPr/>
        </p:nvSpPr>
        <p:spPr bwMode="auto">
          <a:xfrm>
            <a:off x="2901023" y="1059582"/>
            <a:ext cx="3217428" cy="3217428"/>
          </a:xfrm>
          <a:prstGeom prst="ellipse">
            <a:avLst/>
          </a:prstGeom>
          <a:gradFill flip="none" rotWithShape="1">
            <a:gsLst>
              <a:gs pos="0">
                <a:srgbClr val="DE0000"/>
              </a:gs>
              <a:gs pos="100000">
                <a:srgbClr val="FF0000"/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  <a:rou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grpSp>
        <p:nvGrpSpPr>
          <p:cNvPr id="7" name="Group 95"/>
          <p:cNvGrpSpPr/>
          <p:nvPr/>
        </p:nvGrpSpPr>
        <p:grpSpPr>
          <a:xfrm>
            <a:off x="3222764" y="1381223"/>
            <a:ext cx="2573942" cy="2573942"/>
            <a:chOff x="1422400" y="812799"/>
            <a:chExt cx="3251200" cy="3251200"/>
          </a:xfrm>
          <a:gradFill flip="none" rotWithShape="1"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bg1">
                  <a:lumMod val="65000"/>
                </a:schemeClr>
              </a:gs>
            </a:gsLst>
            <a:lin ang="5400000" scaled="0"/>
            <a:tileRect/>
          </a:gradFill>
        </p:grpSpPr>
        <p:sp>
          <p:nvSpPr>
            <p:cNvPr id="8" name="Oval 67"/>
            <p:cNvSpPr/>
            <p:nvPr/>
          </p:nvSpPr>
          <p:spPr>
            <a:xfrm>
              <a:off x="1422400" y="812799"/>
              <a:ext cx="3251200" cy="3251200"/>
            </a:xfrm>
            <a:prstGeom prst="ellipse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Oval 4"/>
            <p:cNvSpPr/>
            <p:nvPr/>
          </p:nvSpPr>
          <p:spPr>
            <a:xfrm>
              <a:off x="2479852" y="1007871"/>
              <a:ext cx="1136294" cy="58521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42240" tIns="142240" rIns="142240" bIns="14224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2000"/>
            </a:p>
          </p:txBody>
        </p:sp>
      </p:grpSp>
      <p:sp>
        <p:nvSpPr>
          <p:cNvPr id="10" name="Oval 69"/>
          <p:cNvSpPr>
            <a:spLocks noChangeArrowheads="1"/>
          </p:cNvSpPr>
          <p:nvPr/>
        </p:nvSpPr>
        <p:spPr bwMode="auto">
          <a:xfrm>
            <a:off x="3544508" y="1703068"/>
            <a:ext cx="1930457" cy="1930457"/>
          </a:xfrm>
          <a:prstGeom prst="ellipse">
            <a:avLst/>
          </a:prstGeom>
          <a:gradFill rotWithShape="1">
            <a:gsLst>
              <a:gs pos="0">
                <a:srgbClr val="D9D9D9"/>
              </a:gs>
              <a:gs pos="100000">
                <a:srgbClr val="262626"/>
              </a:gs>
            </a:gsLst>
            <a:lin ang="5400000"/>
          </a:gradFill>
          <a:ln w="9525">
            <a:noFill/>
            <a:rou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1" name="Oval 70"/>
          <p:cNvSpPr>
            <a:spLocks noChangeArrowheads="1"/>
          </p:cNvSpPr>
          <p:nvPr/>
        </p:nvSpPr>
        <p:spPr bwMode="auto">
          <a:xfrm>
            <a:off x="3866251" y="2024810"/>
            <a:ext cx="1286971" cy="1286971"/>
          </a:xfrm>
          <a:prstGeom prst="ellipse">
            <a:avLst/>
          </a:prstGeom>
          <a:gradFill>
            <a:gsLst>
              <a:gs pos="0">
                <a:srgbClr val="FF6600"/>
              </a:gs>
              <a:gs pos="100000">
                <a:srgbClr val="FFA219"/>
              </a:gs>
            </a:gsLst>
            <a:lin ang="16200000" scaled="1"/>
          </a:gradFill>
          <a:ln w="9525">
            <a:noFill/>
            <a:rou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2" name="Line 33"/>
          <p:cNvSpPr>
            <a:spLocks noChangeShapeType="1"/>
          </p:cNvSpPr>
          <p:nvPr/>
        </p:nvSpPr>
        <p:spPr bwMode="auto">
          <a:xfrm>
            <a:off x="2290214" y="1724434"/>
            <a:ext cx="1093423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dirty="0">
              <a:solidFill>
                <a:sysClr val="windowText" lastClr="000000"/>
              </a:solidFill>
              <a:latin typeface="Arial" panose="020B0604020202020204" pitchFamily="34" charset="0"/>
              <a:ea typeface="MS PGothic" panose="020B0600070205080204" pitchFamily="-105" charset="-128"/>
            </a:endParaRPr>
          </a:p>
        </p:txBody>
      </p:sp>
      <p:sp>
        <p:nvSpPr>
          <p:cNvPr id="13" name="Line 33"/>
          <p:cNvSpPr>
            <a:spLocks noChangeShapeType="1"/>
          </p:cNvSpPr>
          <p:nvPr/>
        </p:nvSpPr>
        <p:spPr bwMode="auto">
          <a:xfrm flipH="1" flipV="1">
            <a:off x="5304039" y="2653214"/>
            <a:ext cx="1524507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latin typeface="Arial" panose="020B0604020202020204" pitchFamily="34" charset="0"/>
              <a:ea typeface="MS PGothic" panose="020B0600070205080204" pitchFamily="-105" charset="-128"/>
            </a:endParaRPr>
          </a:p>
        </p:txBody>
      </p:sp>
      <p:sp>
        <p:nvSpPr>
          <p:cNvPr id="14" name="Line 33"/>
          <p:cNvSpPr>
            <a:spLocks noChangeShapeType="1"/>
          </p:cNvSpPr>
          <p:nvPr/>
        </p:nvSpPr>
        <p:spPr bwMode="auto">
          <a:xfrm>
            <a:off x="2290214" y="3311781"/>
            <a:ext cx="1254294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dirty="0">
              <a:solidFill>
                <a:sysClr val="windowText" lastClr="000000"/>
              </a:solidFill>
              <a:latin typeface="Arial" panose="020B0604020202020204" pitchFamily="34" charset="0"/>
              <a:ea typeface="MS PGothic" panose="020B0600070205080204" pitchFamily="-105" charset="-128"/>
            </a:endParaRPr>
          </a:p>
        </p:txBody>
      </p:sp>
      <p:sp>
        <p:nvSpPr>
          <p:cNvPr id="15" name="Rektangel 58"/>
          <p:cNvSpPr>
            <a:spLocks noChangeArrowheads="1"/>
          </p:cNvSpPr>
          <p:nvPr/>
        </p:nvSpPr>
        <p:spPr bwMode="auto">
          <a:xfrm>
            <a:off x="6857454" y="2331471"/>
            <a:ext cx="1602978" cy="10002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1600" b="1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标题</a:t>
            </a:r>
            <a:endParaRPr lang="en-US" altLang="zh-CN" sz="1600" b="1" dirty="0" smtClean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 smtClean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18" name="Rektangel 58"/>
          <p:cNvSpPr>
            <a:spLocks noChangeArrowheads="1"/>
          </p:cNvSpPr>
          <p:nvPr/>
        </p:nvSpPr>
        <p:spPr bwMode="auto">
          <a:xfrm>
            <a:off x="4166586" y="2379180"/>
            <a:ext cx="1030582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defTabSz="80200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noProof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填加</a:t>
            </a:r>
            <a:endParaRPr lang="en-US" altLang="zh-CN" sz="2000" b="1" noProof="1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defTabSz="802005">
              <a:lnSpc>
                <a:spcPct val="80000"/>
              </a:lnSpc>
              <a:spcBef>
                <a:spcPct val="20000"/>
              </a:spcBef>
            </a:pPr>
            <a:r>
              <a:rPr lang="zh-CN" altLang="en-US" sz="2000" b="1" noProof="1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en-US" sz="2000" b="1" noProof="1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0" name="Rektangel 58"/>
          <p:cNvSpPr>
            <a:spLocks noChangeArrowheads="1"/>
          </p:cNvSpPr>
          <p:nvPr/>
        </p:nvSpPr>
        <p:spPr bwMode="auto">
          <a:xfrm>
            <a:off x="808782" y="1153010"/>
            <a:ext cx="1602978" cy="10002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1600" b="1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标题</a:t>
            </a:r>
            <a:endParaRPr lang="en-US" altLang="zh-CN" sz="1600" b="1" dirty="0" smtClean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 smtClean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21" name="Rektangel 58"/>
          <p:cNvSpPr>
            <a:spLocks noChangeArrowheads="1"/>
          </p:cNvSpPr>
          <p:nvPr/>
        </p:nvSpPr>
        <p:spPr bwMode="auto">
          <a:xfrm>
            <a:off x="808782" y="2951989"/>
            <a:ext cx="1602978" cy="10002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1600" b="1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标题</a:t>
            </a:r>
            <a:endParaRPr lang="en-US" altLang="zh-CN" sz="1600" b="1" dirty="0" smtClean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 smtClean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填加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</a:t>
            </a:r>
            <a:endParaRPr lang="en-US" altLang="zh-CN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5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  <p:bldP spid="18" grpId="0"/>
      <p:bldP spid="20" grpId="0"/>
      <p:bldP spid="2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组合 34"/>
          <p:cNvGrpSpPr/>
          <p:nvPr/>
        </p:nvGrpSpPr>
        <p:grpSpPr>
          <a:xfrm>
            <a:off x="4981449" y="2002339"/>
            <a:ext cx="1213653" cy="1202310"/>
            <a:chOff x="4981449" y="2146357"/>
            <a:chExt cx="1213653" cy="1202310"/>
          </a:xfrm>
        </p:grpSpPr>
        <p:grpSp>
          <p:nvGrpSpPr>
            <p:cNvPr id="4" name="Group 105"/>
            <p:cNvGrpSpPr/>
            <p:nvPr/>
          </p:nvGrpSpPr>
          <p:grpSpPr bwMode="auto">
            <a:xfrm rot="19765573" flipH="1">
              <a:off x="4981449" y="2146357"/>
              <a:ext cx="1213653" cy="1202310"/>
              <a:chOff x="5580063" y="2757488"/>
              <a:chExt cx="1031875" cy="1022350"/>
            </a:xfrm>
          </p:grpSpPr>
          <p:sp>
            <p:nvSpPr>
              <p:cNvPr id="5" name="Ellipse 44"/>
              <p:cNvSpPr/>
              <p:nvPr/>
            </p:nvSpPr>
            <p:spPr bwMode="auto">
              <a:xfrm rot="21052097">
                <a:off x="5590124" y="2757488"/>
                <a:ext cx="1021814" cy="1022350"/>
              </a:xfrm>
              <a:prstGeom prst="ellipse">
                <a:avLst/>
              </a:prstGeom>
              <a:solidFill>
                <a:srgbClr val="FF6600"/>
              </a:solidFill>
              <a:ln w="9525" cap="flat" cmpd="sng" algn="ctr">
                <a:solidFill>
                  <a:srgbClr val="FF6600"/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6" name="Måne 63"/>
              <p:cNvSpPr/>
              <p:nvPr/>
            </p:nvSpPr>
            <p:spPr bwMode="auto">
              <a:xfrm rot="16552097">
                <a:off x="5850994" y="3038453"/>
                <a:ext cx="450073" cy="991936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7" name="Ellipse 45"/>
              <p:cNvSpPr>
                <a:spLocks noChangeArrowheads="1"/>
              </p:cNvSpPr>
              <p:nvPr/>
            </p:nvSpPr>
            <p:spPr bwMode="auto">
              <a:xfrm>
                <a:off x="5735638" y="2786063"/>
                <a:ext cx="722312" cy="539750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</p:grpSp>
        <p:sp>
          <p:nvSpPr>
            <p:cNvPr id="8" name="Rektangel 76"/>
            <p:cNvSpPr>
              <a:spLocks noChangeArrowheads="1"/>
            </p:cNvSpPr>
            <p:nvPr/>
          </p:nvSpPr>
          <p:spPr bwMode="auto">
            <a:xfrm>
              <a:off x="5076056" y="2557209"/>
              <a:ext cx="1071241" cy="38779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加文字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sp>
        <p:nvSpPr>
          <p:cNvPr id="9" name="Right Arrow 58"/>
          <p:cNvSpPr>
            <a:spLocks noChangeArrowheads="1"/>
          </p:cNvSpPr>
          <p:nvPr/>
        </p:nvSpPr>
        <p:spPr bwMode="auto">
          <a:xfrm rot="19215207">
            <a:off x="3683358" y="1878831"/>
            <a:ext cx="296167" cy="284824"/>
          </a:xfrm>
          <a:prstGeom prst="right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7F7F7F"/>
              </a:gs>
              <a:gs pos="100000">
                <a:srgbClr val="262626"/>
              </a:gs>
            </a:gsLst>
            <a:lin ang="540000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-108" charset="0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719243" y="1995683"/>
            <a:ext cx="1273943" cy="1202310"/>
            <a:chOff x="2719243" y="2147617"/>
            <a:chExt cx="1273943" cy="1202310"/>
          </a:xfrm>
        </p:grpSpPr>
        <p:grpSp>
          <p:nvGrpSpPr>
            <p:cNvPr id="11" name="Group 105"/>
            <p:cNvGrpSpPr/>
            <p:nvPr/>
          </p:nvGrpSpPr>
          <p:grpSpPr bwMode="auto">
            <a:xfrm rot="19765573" flipH="1">
              <a:off x="2719243" y="2147617"/>
              <a:ext cx="1213653" cy="1202310"/>
              <a:chOff x="5580062" y="2757488"/>
              <a:chExt cx="1031876" cy="1022350"/>
            </a:xfrm>
          </p:grpSpPr>
          <p:sp>
            <p:nvSpPr>
              <p:cNvPr id="12" name="Ellipse 44"/>
              <p:cNvSpPr/>
              <p:nvPr/>
            </p:nvSpPr>
            <p:spPr bwMode="auto">
              <a:xfrm rot="21052097">
                <a:off x="5590124" y="2757488"/>
                <a:ext cx="1021814" cy="1022350"/>
              </a:xfrm>
              <a:prstGeom prst="ellipse">
                <a:avLst/>
              </a:prstGeom>
              <a:solidFill>
                <a:srgbClr val="DE0000"/>
              </a:solidFill>
              <a:ln w="9525" cap="flat" cmpd="sng" algn="ctr">
                <a:solidFill>
                  <a:srgbClr val="FF0000"/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13" name="Måne 63"/>
              <p:cNvSpPr/>
              <p:nvPr/>
            </p:nvSpPr>
            <p:spPr bwMode="auto">
              <a:xfrm rot="16552097">
                <a:off x="5850993" y="3038454"/>
                <a:ext cx="450073" cy="991936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14" name="Ellipse 45"/>
              <p:cNvSpPr>
                <a:spLocks noChangeArrowheads="1"/>
              </p:cNvSpPr>
              <p:nvPr/>
            </p:nvSpPr>
            <p:spPr bwMode="auto">
              <a:xfrm>
                <a:off x="5735638" y="2786063"/>
                <a:ext cx="722312" cy="539750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</p:grpSp>
        <p:sp>
          <p:nvSpPr>
            <p:cNvPr id="15" name="Rektangel 76"/>
            <p:cNvSpPr>
              <a:spLocks noChangeArrowheads="1"/>
            </p:cNvSpPr>
            <p:nvPr/>
          </p:nvSpPr>
          <p:spPr bwMode="auto">
            <a:xfrm>
              <a:off x="2843808" y="2557209"/>
              <a:ext cx="1149378" cy="664797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defTabSz="914400"/>
              <a:endParaRPr lang="da-DK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3825829" y="3050313"/>
            <a:ext cx="1290756" cy="1202310"/>
            <a:chOff x="3857308" y="3193653"/>
            <a:chExt cx="1290756" cy="1202310"/>
          </a:xfrm>
        </p:grpSpPr>
        <p:grpSp>
          <p:nvGrpSpPr>
            <p:cNvPr id="16" name="Group 105"/>
            <p:cNvGrpSpPr/>
            <p:nvPr/>
          </p:nvGrpSpPr>
          <p:grpSpPr bwMode="auto">
            <a:xfrm rot="19765573" flipH="1">
              <a:off x="3857308" y="3193653"/>
              <a:ext cx="1213652" cy="1202310"/>
              <a:chOff x="5580063" y="2757488"/>
              <a:chExt cx="1031875" cy="1022350"/>
            </a:xfrm>
          </p:grpSpPr>
          <p:sp>
            <p:nvSpPr>
              <p:cNvPr id="17" name="Ellipse 44"/>
              <p:cNvSpPr/>
              <p:nvPr/>
            </p:nvSpPr>
            <p:spPr bwMode="auto">
              <a:xfrm rot="21052097">
                <a:off x="5590124" y="2757488"/>
                <a:ext cx="1021814" cy="1022350"/>
              </a:xfrm>
              <a:prstGeom prst="ellipse">
                <a:avLst/>
              </a:prstGeom>
              <a:solidFill>
                <a:srgbClr val="DE0000"/>
              </a:solidFill>
              <a:ln w="9525" cap="flat" cmpd="sng" algn="ctr">
                <a:solidFill>
                  <a:srgbClr val="FF0000"/>
                </a:solidFill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18" name="Måne 63"/>
              <p:cNvSpPr/>
              <p:nvPr/>
            </p:nvSpPr>
            <p:spPr bwMode="auto">
              <a:xfrm rot="16552097">
                <a:off x="5850994" y="3038453"/>
                <a:ext cx="450073" cy="991936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19" name="Ellipse 45"/>
              <p:cNvSpPr>
                <a:spLocks noChangeArrowheads="1"/>
              </p:cNvSpPr>
              <p:nvPr/>
            </p:nvSpPr>
            <p:spPr bwMode="auto">
              <a:xfrm>
                <a:off x="5735638" y="2786063"/>
                <a:ext cx="722312" cy="539750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</p:grpSp>
        <p:sp>
          <p:nvSpPr>
            <p:cNvPr id="20" name="Rektangel 76"/>
            <p:cNvSpPr>
              <a:spLocks noChangeArrowheads="1"/>
            </p:cNvSpPr>
            <p:nvPr/>
          </p:nvSpPr>
          <p:spPr bwMode="auto">
            <a:xfrm>
              <a:off x="3907945" y="3609546"/>
              <a:ext cx="1240119" cy="664797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加文字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defTabSz="914400"/>
              <a:endParaRPr lang="da-DK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3838370" y="987574"/>
            <a:ext cx="1237686" cy="1202310"/>
            <a:chOff x="3838370" y="1140653"/>
            <a:chExt cx="1237686" cy="1202310"/>
          </a:xfrm>
        </p:grpSpPr>
        <p:grpSp>
          <p:nvGrpSpPr>
            <p:cNvPr id="21" name="Group 105"/>
            <p:cNvGrpSpPr/>
            <p:nvPr/>
          </p:nvGrpSpPr>
          <p:grpSpPr bwMode="auto">
            <a:xfrm rot="19765573" flipH="1">
              <a:off x="3838370" y="1140653"/>
              <a:ext cx="1213655" cy="1202310"/>
              <a:chOff x="5580061" y="2757488"/>
              <a:chExt cx="1031877" cy="1022350"/>
            </a:xfrm>
          </p:grpSpPr>
          <p:sp>
            <p:nvSpPr>
              <p:cNvPr id="22" name="Ellipse 44"/>
              <p:cNvSpPr/>
              <p:nvPr/>
            </p:nvSpPr>
            <p:spPr bwMode="auto">
              <a:xfrm rot="21052097">
                <a:off x="5590124" y="2757488"/>
                <a:ext cx="1021814" cy="1022350"/>
              </a:xfrm>
              <a:prstGeom prst="ellipse">
                <a:avLst/>
              </a:prstGeom>
              <a:solidFill>
                <a:srgbClr val="FFA219"/>
              </a:solidFill>
              <a:ln w="9525" cap="flat" cmpd="sng" algn="ctr">
                <a:noFill/>
                <a:prstDash val="solid"/>
              </a:ln>
              <a:effectLst>
                <a:innerShdw blurRad="190500" dist="114300" dir="564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23" name="Måne 63"/>
              <p:cNvSpPr/>
              <p:nvPr/>
            </p:nvSpPr>
            <p:spPr bwMode="auto">
              <a:xfrm rot="16552097">
                <a:off x="5850992" y="3038453"/>
                <a:ext cx="450073" cy="991935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  <p:sp>
            <p:nvSpPr>
              <p:cNvPr id="24" name="Ellipse 45"/>
              <p:cNvSpPr>
                <a:spLocks noChangeArrowheads="1"/>
              </p:cNvSpPr>
              <p:nvPr/>
            </p:nvSpPr>
            <p:spPr bwMode="auto">
              <a:xfrm>
                <a:off x="5735638" y="2786063"/>
                <a:ext cx="722312" cy="539750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76999"/>
                    </a:srgbClr>
                  </a:gs>
                  <a:gs pos="100000">
                    <a:srgbClr val="FFFFFF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</a:ln>
            </p:spPr>
            <p:txBody>
              <a:bodyPr anchor="ctr"/>
              <a:lstStyle/>
              <a:p>
                <a:pPr algn="ctr"/>
                <a:endParaRPr lang="da-DK" u="sng">
                  <a:solidFill>
                    <a:schemeClr val="bg1"/>
                  </a:solidFill>
                  <a:latin typeface="Calibri" panose="020F0502020204030204" pitchFamily="-108" charset="0"/>
                </a:endParaRPr>
              </a:p>
            </p:txBody>
          </p:sp>
        </p:grpSp>
        <p:sp>
          <p:nvSpPr>
            <p:cNvPr id="25" name="Rektangel 76"/>
            <p:cNvSpPr>
              <a:spLocks noChangeArrowheads="1"/>
            </p:cNvSpPr>
            <p:nvPr/>
          </p:nvSpPr>
          <p:spPr bwMode="auto">
            <a:xfrm>
              <a:off x="3926678" y="1527558"/>
              <a:ext cx="1149378" cy="387798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加文字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sp>
        <p:nvSpPr>
          <p:cNvPr id="26" name="Right Arrow 69"/>
          <p:cNvSpPr>
            <a:spLocks noChangeArrowheads="1"/>
          </p:cNvSpPr>
          <p:nvPr/>
        </p:nvSpPr>
        <p:spPr bwMode="auto">
          <a:xfrm rot="19215207">
            <a:off x="4860462" y="3003004"/>
            <a:ext cx="296167" cy="284824"/>
          </a:xfrm>
          <a:prstGeom prst="right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7F7F7F"/>
              </a:gs>
              <a:gs pos="100000">
                <a:srgbClr val="262626"/>
              </a:gs>
            </a:gsLst>
            <a:lin ang="540000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-108" charset="0"/>
            </a:endParaRPr>
          </a:p>
        </p:txBody>
      </p:sp>
      <p:sp>
        <p:nvSpPr>
          <p:cNvPr id="27" name="Right Arrow 70"/>
          <p:cNvSpPr>
            <a:spLocks noChangeArrowheads="1"/>
          </p:cNvSpPr>
          <p:nvPr/>
        </p:nvSpPr>
        <p:spPr bwMode="auto">
          <a:xfrm rot="3015207">
            <a:off x="4891340" y="1933653"/>
            <a:ext cx="296166" cy="284824"/>
          </a:xfrm>
          <a:prstGeom prst="right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7F7F7F"/>
              </a:gs>
              <a:gs pos="100000">
                <a:srgbClr val="262626"/>
              </a:gs>
            </a:gsLst>
            <a:lin ang="540000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-108" charset="0"/>
            </a:endParaRPr>
          </a:p>
        </p:txBody>
      </p:sp>
      <p:sp>
        <p:nvSpPr>
          <p:cNvPr id="28" name="Right Arrow 71"/>
          <p:cNvSpPr>
            <a:spLocks noChangeArrowheads="1"/>
          </p:cNvSpPr>
          <p:nvPr/>
        </p:nvSpPr>
        <p:spPr bwMode="auto">
          <a:xfrm rot="3015207">
            <a:off x="3716756" y="3009935"/>
            <a:ext cx="296166" cy="284824"/>
          </a:xfrm>
          <a:prstGeom prst="right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7F7F7F"/>
              </a:gs>
              <a:gs pos="100000">
                <a:srgbClr val="262626"/>
              </a:gs>
            </a:gsLst>
            <a:lin ang="540000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-108" charset="0"/>
            </a:endParaRPr>
          </a:p>
        </p:txBody>
      </p:sp>
      <p:sp>
        <p:nvSpPr>
          <p:cNvPr id="30" name="Right Arrow 75"/>
          <p:cNvSpPr>
            <a:spLocks noChangeArrowheads="1"/>
          </p:cNvSpPr>
          <p:nvPr/>
        </p:nvSpPr>
        <p:spPr bwMode="auto">
          <a:xfrm>
            <a:off x="2404171" y="2463603"/>
            <a:ext cx="296166" cy="284824"/>
          </a:xfrm>
          <a:prstGeom prst="right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7F7F7F"/>
              </a:gs>
              <a:gs pos="100000">
                <a:srgbClr val="262626"/>
              </a:gs>
            </a:gsLst>
            <a:lin ang="540000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-108" charset="0"/>
            </a:endParaRPr>
          </a:p>
        </p:txBody>
      </p:sp>
      <p:sp>
        <p:nvSpPr>
          <p:cNvPr id="31" name="Right Arrow 76"/>
          <p:cNvSpPr>
            <a:spLocks noChangeArrowheads="1"/>
          </p:cNvSpPr>
          <p:nvPr/>
        </p:nvSpPr>
        <p:spPr bwMode="auto">
          <a:xfrm>
            <a:off x="6211486" y="2463603"/>
            <a:ext cx="296167" cy="284824"/>
          </a:xfrm>
          <a:prstGeom prst="rightArrow">
            <a:avLst>
              <a:gd name="adj1" fmla="val 50000"/>
              <a:gd name="adj2" fmla="val 49998"/>
            </a:avLst>
          </a:prstGeom>
          <a:gradFill rotWithShape="1">
            <a:gsLst>
              <a:gs pos="0">
                <a:srgbClr val="7F7F7F"/>
              </a:gs>
              <a:gs pos="100000">
                <a:srgbClr val="262626"/>
              </a:gs>
            </a:gsLst>
            <a:lin ang="5400000"/>
          </a:gradFill>
          <a:ln w="9525">
            <a:noFill/>
            <a:miter lim="800000"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-108" charset="0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331640" y="2115764"/>
            <a:ext cx="1073146" cy="1028355"/>
            <a:chOff x="1331640" y="2259782"/>
            <a:chExt cx="1073146" cy="1028355"/>
          </a:xfrm>
        </p:grpSpPr>
        <p:sp>
          <p:nvSpPr>
            <p:cNvPr id="29" name="Rectangle 74"/>
            <p:cNvSpPr>
              <a:spLocks noChangeArrowheads="1"/>
            </p:cNvSpPr>
            <p:nvPr/>
          </p:nvSpPr>
          <p:spPr bwMode="auto">
            <a:xfrm>
              <a:off x="1331640" y="2259782"/>
              <a:ext cx="1073146" cy="1028355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</a:schemeClr>
                </a:gs>
                <a:gs pos="100000">
                  <a:schemeClr val="tx1">
                    <a:lumMod val="75000"/>
                  </a:schemeClr>
                </a:gs>
              </a:gsLst>
              <a:lin ang="16200000" scaled="1"/>
              <a:tileRect/>
            </a:gradFill>
            <a:ln w="9525" algn="ctr">
              <a:noFill/>
              <a:miter lim="800000"/>
            </a:ln>
            <a:scene3d>
              <a:camera prst="orthographicFront"/>
              <a:lightRig rig="balanced" dir="t"/>
            </a:scene3d>
            <a:sp3d prstMaterial="metal"/>
          </p:spPr>
          <p:txBody>
            <a:bodyPr anchor="ctr"/>
            <a:lstStyle/>
            <a:p>
              <a:pPr algn="ctr"/>
              <a:endParaRPr lang="en-US">
                <a:solidFill>
                  <a:schemeClr val="bg1"/>
                </a:solidFill>
                <a:latin typeface="Calibri" panose="020F0502020204030204" pitchFamily="-108" charset="0"/>
              </a:endParaRPr>
            </a:p>
          </p:txBody>
        </p:sp>
        <p:sp>
          <p:nvSpPr>
            <p:cNvPr id="33" name="TextBox 78"/>
            <p:cNvSpPr txBox="1">
              <a:spLocks noChangeArrowheads="1"/>
            </p:cNvSpPr>
            <p:nvPr/>
          </p:nvSpPr>
          <p:spPr bwMode="auto">
            <a:xfrm>
              <a:off x="1547664" y="2405745"/>
              <a:ext cx="712461" cy="75713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加</a:t>
              </a:r>
              <a:endPara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文字</a:t>
              </a:r>
              <a:endPara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6523181" y="2115764"/>
            <a:ext cx="1073146" cy="1028355"/>
            <a:chOff x="6523181" y="2259782"/>
            <a:chExt cx="1073146" cy="1028355"/>
          </a:xfrm>
        </p:grpSpPr>
        <p:sp>
          <p:nvSpPr>
            <p:cNvPr id="36" name="Rectangle 74"/>
            <p:cNvSpPr>
              <a:spLocks noChangeArrowheads="1"/>
            </p:cNvSpPr>
            <p:nvPr/>
          </p:nvSpPr>
          <p:spPr bwMode="auto">
            <a:xfrm>
              <a:off x="6523181" y="2259782"/>
              <a:ext cx="1073146" cy="1028355"/>
            </a:xfrm>
            <a:prstGeom prst="rect">
              <a:avLst/>
            </a:prstGeom>
            <a:gradFill flip="none" rotWithShape="1">
              <a:gsLst>
                <a:gs pos="0">
                  <a:srgbClr val="FF0000">
                    <a:shade val="30000"/>
                    <a:satMod val="115000"/>
                  </a:srgbClr>
                </a:gs>
                <a:gs pos="50000">
                  <a:srgbClr val="FF0000">
                    <a:shade val="67500"/>
                    <a:satMod val="115000"/>
                  </a:srgbClr>
                </a:gs>
                <a:gs pos="100000">
                  <a:srgbClr val="FF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 algn="ctr">
              <a:noFill/>
              <a:miter lim="800000"/>
            </a:ln>
            <a:scene3d>
              <a:camera prst="orthographicFront"/>
              <a:lightRig rig="balanced" dir="t"/>
            </a:scene3d>
            <a:sp3d prstMaterial="metal"/>
          </p:spPr>
          <p:txBody>
            <a:bodyPr anchor="ctr"/>
            <a:lstStyle/>
            <a:p>
              <a:pPr algn="ctr"/>
              <a:endParaRPr lang="en-US">
                <a:solidFill>
                  <a:schemeClr val="bg1"/>
                </a:solidFill>
                <a:latin typeface="Calibri" panose="020F0502020204030204" pitchFamily="-108" charset="0"/>
              </a:endParaRPr>
            </a:p>
          </p:txBody>
        </p:sp>
        <p:sp>
          <p:nvSpPr>
            <p:cNvPr id="37" name="TextBox 78"/>
            <p:cNvSpPr txBox="1">
              <a:spLocks noChangeArrowheads="1"/>
            </p:cNvSpPr>
            <p:nvPr/>
          </p:nvSpPr>
          <p:spPr bwMode="auto">
            <a:xfrm>
              <a:off x="6739205" y="2405745"/>
              <a:ext cx="712461" cy="75713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加</a:t>
              </a:r>
              <a:endPara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eaLnBrk="0" fontAlgn="ctr" hangingPunct="0">
                <a:lnSpc>
                  <a:spcPct val="120000"/>
                </a:lnSpc>
                <a:buSzPct val="70000"/>
              </a:pP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文字</a:t>
              </a:r>
              <a:endPara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6" grpId="0" animBg="1"/>
      <p:bldP spid="27" grpId="0" animBg="1"/>
      <p:bldP spid="28" grpId="0" animBg="1"/>
      <p:bldP spid="30" grpId="0" animBg="1"/>
      <p:bldP spid="3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1"/>
          <p:cNvGrpSpPr/>
          <p:nvPr/>
        </p:nvGrpSpPr>
        <p:grpSpPr bwMode="auto">
          <a:xfrm>
            <a:off x="2611892" y="3228504"/>
            <a:ext cx="3455987" cy="1239837"/>
            <a:chOff x="171" y="2983"/>
            <a:chExt cx="2836" cy="1018"/>
          </a:xfrm>
        </p:grpSpPr>
        <p:sp>
          <p:nvSpPr>
            <p:cNvPr id="14" name="AutoShape 12"/>
            <p:cNvSpPr>
              <a:spLocks noChangeArrowheads="1"/>
            </p:cNvSpPr>
            <p:nvPr/>
          </p:nvSpPr>
          <p:spPr bwMode="gray">
            <a:xfrm>
              <a:off x="171" y="2983"/>
              <a:ext cx="2829" cy="101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5" name="Oval 13"/>
            <p:cNvSpPr>
              <a:spLocks noChangeArrowheads="1"/>
            </p:cNvSpPr>
            <p:nvPr/>
          </p:nvSpPr>
          <p:spPr bwMode="gray">
            <a:xfrm>
              <a:off x="171" y="2990"/>
              <a:ext cx="2836" cy="503"/>
            </a:xfrm>
            <a:prstGeom prst="ellipse">
              <a:avLst/>
            </a:prstGeom>
            <a:solidFill>
              <a:srgbClr val="FF6600"/>
            </a:solidFill>
            <a:ln w="9525" algn="ctr">
              <a:noFill/>
              <a:rou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16" name="Group 14"/>
          <p:cNvGrpSpPr/>
          <p:nvPr/>
        </p:nvGrpSpPr>
        <p:grpSpPr bwMode="auto">
          <a:xfrm>
            <a:off x="2936056" y="2587774"/>
            <a:ext cx="2860675" cy="1062038"/>
            <a:chOff x="394" y="2571"/>
            <a:chExt cx="2347" cy="871"/>
          </a:xfrm>
        </p:grpSpPr>
        <p:sp>
          <p:nvSpPr>
            <p:cNvPr id="17" name="AutoShape 15"/>
            <p:cNvSpPr>
              <a:spLocks noChangeArrowheads="1"/>
            </p:cNvSpPr>
            <p:nvPr/>
          </p:nvSpPr>
          <p:spPr bwMode="gray">
            <a:xfrm>
              <a:off x="394" y="2571"/>
              <a:ext cx="2347" cy="871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99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8" name="Oval 16"/>
            <p:cNvSpPr>
              <a:spLocks noChangeArrowheads="1"/>
            </p:cNvSpPr>
            <p:nvPr/>
          </p:nvSpPr>
          <p:spPr bwMode="gray">
            <a:xfrm>
              <a:off x="394" y="2576"/>
              <a:ext cx="2347" cy="431"/>
            </a:xfrm>
            <a:prstGeom prst="ellipse">
              <a:avLst/>
            </a:prstGeom>
            <a:solidFill>
              <a:srgbClr val="FF6600"/>
            </a:soli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19" name="Group 17"/>
          <p:cNvGrpSpPr/>
          <p:nvPr/>
        </p:nvGrpSpPr>
        <p:grpSpPr bwMode="auto">
          <a:xfrm>
            <a:off x="3163069" y="1944837"/>
            <a:ext cx="2363787" cy="1003300"/>
            <a:chOff x="593" y="2111"/>
            <a:chExt cx="1940" cy="823"/>
          </a:xfrm>
        </p:grpSpPr>
        <p:sp>
          <p:nvSpPr>
            <p:cNvPr id="20" name="AutoShape 18"/>
            <p:cNvSpPr>
              <a:spLocks noChangeArrowheads="1"/>
            </p:cNvSpPr>
            <p:nvPr/>
          </p:nvSpPr>
          <p:spPr bwMode="gray">
            <a:xfrm>
              <a:off x="597" y="2111"/>
              <a:ext cx="1936" cy="823"/>
            </a:xfrm>
            <a:prstGeom prst="can">
              <a:avLst>
                <a:gd name="adj" fmla="val 47144"/>
              </a:avLst>
            </a:prstGeom>
            <a:gradFill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0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1" name="Oval 19"/>
            <p:cNvSpPr>
              <a:spLocks noChangeArrowheads="1"/>
            </p:cNvSpPr>
            <p:nvPr/>
          </p:nvSpPr>
          <p:spPr bwMode="gray">
            <a:xfrm>
              <a:off x="593" y="2115"/>
              <a:ext cx="1940" cy="383"/>
            </a:xfrm>
            <a:prstGeom prst="ellipse">
              <a:avLst/>
            </a:prstGeom>
            <a:gradFill flip="none" rotWithShape="1">
              <a:gsLst>
                <a:gs pos="0">
                  <a:srgbClr val="FF6600"/>
                </a:gs>
                <a:gs pos="50000">
                  <a:srgbClr val="FF6600"/>
                </a:gs>
                <a:gs pos="100000">
                  <a:srgbClr val="FF660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9525" algn="ctr">
              <a:noFill/>
              <a:rou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22" name="Group 20"/>
          <p:cNvGrpSpPr/>
          <p:nvPr/>
        </p:nvGrpSpPr>
        <p:grpSpPr bwMode="auto">
          <a:xfrm>
            <a:off x="3415481" y="1397149"/>
            <a:ext cx="1885950" cy="822325"/>
            <a:chOff x="800" y="1773"/>
            <a:chExt cx="1548" cy="675"/>
          </a:xfrm>
        </p:grpSpPr>
        <p:sp>
          <p:nvSpPr>
            <p:cNvPr id="23" name="AutoShape 21"/>
            <p:cNvSpPr>
              <a:spLocks noChangeArrowheads="1"/>
            </p:cNvSpPr>
            <p:nvPr/>
          </p:nvSpPr>
          <p:spPr bwMode="gray">
            <a:xfrm>
              <a:off x="800" y="1773"/>
              <a:ext cx="1548" cy="675"/>
            </a:xfrm>
            <a:prstGeom prst="can">
              <a:avLst>
                <a:gd name="adj" fmla="val 40000"/>
              </a:avLst>
            </a:prstGeom>
            <a:gradFill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0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" name="Oval 22"/>
            <p:cNvSpPr>
              <a:spLocks noChangeArrowheads="1"/>
            </p:cNvSpPr>
            <p:nvPr/>
          </p:nvSpPr>
          <p:spPr bwMode="gray">
            <a:xfrm>
              <a:off x="807" y="1773"/>
              <a:ext cx="1541" cy="270"/>
            </a:xfrm>
            <a:prstGeom prst="ellipse">
              <a:avLst/>
            </a:prstGeom>
            <a:gradFill>
              <a:gsLst>
                <a:gs pos="0">
                  <a:srgbClr val="FF6600"/>
                </a:gs>
                <a:gs pos="50000">
                  <a:srgbClr val="FFA219"/>
                </a:gs>
                <a:gs pos="100000">
                  <a:srgbClr val="FF6600"/>
                </a:gs>
              </a:gsLst>
              <a:lin ang="0" scaled="0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25" name="AutoShape 23"/>
          <p:cNvSpPr>
            <a:spLocks noChangeArrowheads="1"/>
          </p:cNvSpPr>
          <p:nvPr/>
        </p:nvSpPr>
        <p:spPr bwMode="gray">
          <a:xfrm>
            <a:off x="3603287" y="987574"/>
            <a:ext cx="1473200" cy="560388"/>
          </a:xfrm>
          <a:prstGeom prst="can">
            <a:avLst>
              <a:gd name="adj" fmla="val 36644"/>
            </a:avLst>
          </a:prstGeom>
          <a:gradFill>
            <a:gsLst>
              <a:gs pos="0">
                <a:srgbClr val="FF6600"/>
              </a:gs>
              <a:gs pos="50000">
                <a:srgbClr val="FFC000"/>
              </a:gs>
              <a:gs pos="100000">
                <a:srgbClr val="FF6600"/>
              </a:gs>
            </a:gsLst>
            <a:lin ang="0" scaled="0"/>
          </a:gradFill>
          <a:ln w="9525">
            <a:noFill/>
            <a:round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31" name="Text Box 29"/>
          <p:cNvSpPr txBox="1">
            <a:spLocks noChangeArrowheads="1"/>
          </p:cNvSpPr>
          <p:nvPr/>
        </p:nvSpPr>
        <p:spPr bwMode="gray">
          <a:xfrm>
            <a:off x="2109961" y="1063774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Text Box 30"/>
          <p:cNvSpPr txBox="1">
            <a:spLocks noChangeArrowheads="1"/>
          </p:cNvSpPr>
          <p:nvPr/>
        </p:nvSpPr>
        <p:spPr bwMode="gray">
          <a:xfrm>
            <a:off x="1866061" y="1597174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Text Box 31"/>
          <p:cNvSpPr txBox="1">
            <a:spLocks noChangeArrowheads="1"/>
          </p:cNvSpPr>
          <p:nvPr/>
        </p:nvSpPr>
        <p:spPr bwMode="gray">
          <a:xfrm>
            <a:off x="1650037" y="2216299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Text Box 32"/>
          <p:cNvSpPr txBox="1">
            <a:spLocks noChangeArrowheads="1"/>
          </p:cNvSpPr>
          <p:nvPr/>
        </p:nvSpPr>
        <p:spPr bwMode="gray">
          <a:xfrm>
            <a:off x="1389881" y="2960837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 Box 33"/>
          <p:cNvSpPr txBox="1">
            <a:spLocks noChangeArrowheads="1"/>
          </p:cNvSpPr>
          <p:nvPr/>
        </p:nvSpPr>
        <p:spPr bwMode="gray">
          <a:xfrm>
            <a:off x="1072331" y="3729187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Text Box 34"/>
          <p:cNvSpPr txBox="1">
            <a:spLocks noChangeArrowheads="1"/>
          </p:cNvSpPr>
          <p:nvPr/>
        </p:nvSpPr>
        <p:spPr bwMode="gray">
          <a:xfrm>
            <a:off x="5399856" y="1063774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Text Box 35"/>
          <p:cNvSpPr txBox="1">
            <a:spLocks noChangeArrowheads="1"/>
          </p:cNvSpPr>
          <p:nvPr/>
        </p:nvSpPr>
        <p:spPr bwMode="gray">
          <a:xfrm>
            <a:off x="5680844" y="1597174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Text Box 36"/>
          <p:cNvSpPr txBox="1">
            <a:spLocks noChangeArrowheads="1"/>
          </p:cNvSpPr>
          <p:nvPr/>
        </p:nvSpPr>
        <p:spPr bwMode="gray">
          <a:xfrm>
            <a:off x="5990406" y="2216299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Text Box 37"/>
          <p:cNvSpPr txBox="1">
            <a:spLocks noChangeArrowheads="1"/>
          </p:cNvSpPr>
          <p:nvPr/>
        </p:nvSpPr>
        <p:spPr bwMode="gray">
          <a:xfrm>
            <a:off x="6226944" y="2960837"/>
            <a:ext cx="11079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 smtClean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Tx/>
              <a:buChar char="•"/>
            </a:pPr>
            <a:endParaRPr lang="en-US" altLang="zh-CN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0" name="Text Box 38"/>
          <p:cNvSpPr txBox="1">
            <a:spLocks noChangeArrowheads="1"/>
          </p:cNvSpPr>
          <p:nvPr/>
        </p:nvSpPr>
        <p:spPr bwMode="gray">
          <a:xfrm>
            <a:off x="6482531" y="3729187"/>
            <a:ext cx="11079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zh-CN" altLang="en-US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785889" y="1224905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3708945" y="1808311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632001" y="2499742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555057" y="3191669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矩形 47"/>
          <p:cNvSpPr/>
          <p:nvPr/>
        </p:nvSpPr>
        <p:spPr>
          <a:xfrm>
            <a:off x="3478112" y="3951823"/>
            <a:ext cx="17235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3" grpId="0"/>
      <p:bldP spid="45" grpId="0"/>
      <p:bldP spid="46" grpId="0"/>
      <p:bldP spid="47" grpId="0"/>
      <p:bldP spid="4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c 2"/>
          <p:cNvSpPr/>
          <p:nvPr/>
        </p:nvSpPr>
        <p:spPr bwMode="auto">
          <a:xfrm>
            <a:off x="4493971" y="1131590"/>
            <a:ext cx="2726373" cy="1668695"/>
          </a:xfrm>
          <a:custGeom>
            <a:avLst/>
            <a:gdLst>
              <a:gd name="G0" fmla="+- 0 0 0"/>
              <a:gd name="G1" fmla="+- 21597 0 0"/>
              <a:gd name="G2" fmla="+- 21600 0 0"/>
              <a:gd name="T0" fmla="*/ 377 w 16836"/>
              <a:gd name="T1" fmla="*/ 0 h 21597"/>
              <a:gd name="T2" fmla="*/ 16836 w 16836"/>
              <a:gd name="T3" fmla="*/ 8065 h 21597"/>
              <a:gd name="T4" fmla="*/ 0 w 16836"/>
              <a:gd name="T5" fmla="*/ 21597 h 21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836" h="21597" fill="none" extrusionOk="0">
                <a:moveTo>
                  <a:pt x="376" y="0"/>
                </a:moveTo>
                <a:cubicBezTo>
                  <a:pt x="6788" y="112"/>
                  <a:pt x="12818" y="3067"/>
                  <a:pt x="16835" y="8065"/>
                </a:cubicBezTo>
              </a:path>
              <a:path w="16836" h="21597" stroke="0" extrusionOk="0">
                <a:moveTo>
                  <a:pt x="376" y="0"/>
                </a:moveTo>
                <a:cubicBezTo>
                  <a:pt x="6788" y="112"/>
                  <a:pt x="12818" y="3067"/>
                  <a:pt x="16835" y="8065"/>
                </a:cubicBezTo>
                <a:lnTo>
                  <a:pt x="0" y="21597"/>
                </a:lnTo>
                <a:close/>
              </a:path>
            </a:pathLst>
          </a:custGeom>
          <a:solidFill>
            <a:srgbClr val="FFA219"/>
          </a:solidFill>
          <a:ln w="9525">
            <a:noFill/>
            <a:round/>
          </a:ln>
          <a:effectLst>
            <a:outerShdw dist="141990" dir="6018291" algn="ctr" rotWithShape="0">
              <a:srgbClr val="FF660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Arc 3"/>
          <p:cNvSpPr/>
          <p:nvPr/>
        </p:nvSpPr>
        <p:spPr bwMode="auto">
          <a:xfrm>
            <a:off x="4503115" y="1720073"/>
            <a:ext cx="3497763" cy="1237935"/>
          </a:xfrm>
          <a:custGeom>
            <a:avLst/>
            <a:gdLst>
              <a:gd name="G0" fmla="+- 0 0 0"/>
              <a:gd name="G1" fmla="+- 13899 0 0"/>
              <a:gd name="G2" fmla="+- 21600 0 0"/>
              <a:gd name="T0" fmla="*/ 16534 w 21600"/>
              <a:gd name="T1" fmla="*/ 0 h 16013"/>
              <a:gd name="T2" fmla="*/ 21496 w 21600"/>
              <a:gd name="T3" fmla="*/ 16013 h 16013"/>
              <a:gd name="T4" fmla="*/ 0 w 21600"/>
              <a:gd name="T5" fmla="*/ 13899 h 160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16013" fill="none" extrusionOk="0">
                <a:moveTo>
                  <a:pt x="16534" y="-1"/>
                </a:moveTo>
                <a:cubicBezTo>
                  <a:pt x="19806" y="3892"/>
                  <a:pt x="21600" y="8814"/>
                  <a:pt x="21600" y="13899"/>
                </a:cubicBezTo>
                <a:cubicBezTo>
                  <a:pt x="21600" y="14604"/>
                  <a:pt x="21565" y="15310"/>
                  <a:pt x="21496" y="16013"/>
                </a:cubicBezTo>
              </a:path>
              <a:path w="21600" h="16013" stroke="0" extrusionOk="0">
                <a:moveTo>
                  <a:pt x="16534" y="-1"/>
                </a:moveTo>
                <a:cubicBezTo>
                  <a:pt x="19806" y="3892"/>
                  <a:pt x="21600" y="8814"/>
                  <a:pt x="21600" y="13899"/>
                </a:cubicBezTo>
                <a:cubicBezTo>
                  <a:pt x="21600" y="14604"/>
                  <a:pt x="21565" y="15310"/>
                  <a:pt x="21496" y="16013"/>
                </a:cubicBezTo>
                <a:lnTo>
                  <a:pt x="0" y="13899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</a:ln>
          <a:effectLst>
            <a:outerShdw dist="141990" dir="6018291" algn="ctr" rotWithShape="0">
              <a:srgbClr val="FFA219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6" name="Arc 4"/>
          <p:cNvSpPr/>
          <p:nvPr/>
        </p:nvSpPr>
        <p:spPr bwMode="auto">
          <a:xfrm>
            <a:off x="2280531" y="1131590"/>
            <a:ext cx="2414902" cy="1668695"/>
          </a:xfrm>
          <a:custGeom>
            <a:avLst/>
            <a:gdLst>
              <a:gd name="G0" fmla="+- 13642 0 0"/>
              <a:gd name="G1" fmla="+- 21600 0 0"/>
              <a:gd name="G2" fmla="+- 21600 0 0"/>
              <a:gd name="T0" fmla="*/ 0 w 14908"/>
              <a:gd name="T1" fmla="*/ 4853 h 21600"/>
              <a:gd name="T2" fmla="*/ 14908 w 14908"/>
              <a:gd name="T3" fmla="*/ 37 h 21600"/>
              <a:gd name="T4" fmla="*/ 13642 w 1490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908" h="21600" fill="none" extrusionOk="0">
                <a:moveTo>
                  <a:pt x="0" y="4853"/>
                </a:moveTo>
                <a:cubicBezTo>
                  <a:pt x="3853" y="1714"/>
                  <a:pt x="8671" y="-1"/>
                  <a:pt x="13642" y="0"/>
                </a:cubicBezTo>
                <a:cubicBezTo>
                  <a:pt x="14064" y="0"/>
                  <a:pt x="14486" y="12"/>
                  <a:pt x="14907" y="37"/>
                </a:cubicBezTo>
              </a:path>
              <a:path w="14908" h="21600" stroke="0" extrusionOk="0">
                <a:moveTo>
                  <a:pt x="0" y="4853"/>
                </a:moveTo>
                <a:cubicBezTo>
                  <a:pt x="3853" y="1714"/>
                  <a:pt x="8671" y="-1"/>
                  <a:pt x="13642" y="0"/>
                </a:cubicBezTo>
                <a:cubicBezTo>
                  <a:pt x="14064" y="0"/>
                  <a:pt x="14486" y="12"/>
                  <a:pt x="14907" y="37"/>
                </a:cubicBezTo>
                <a:lnTo>
                  <a:pt x="13642" y="21600"/>
                </a:lnTo>
                <a:close/>
              </a:path>
            </a:pathLst>
          </a:custGeom>
          <a:solidFill>
            <a:srgbClr val="DE0000"/>
          </a:solidFill>
          <a:ln w="9525">
            <a:noFill/>
            <a:round/>
          </a:ln>
          <a:effectLst>
            <a:outerShdw dist="141990" dir="6018291" algn="ctr" rotWithShape="0">
              <a:srgbClr val="DE000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7" name="Arc 5"/>
          <p:cNvSpPr/>
          <p:nvPr/>
        </p:nvSpPr>
        <p:spPr bwMode="auto">
          <a:xfrm>
            <a:off x="1988647" y="2104913"/>
            <a:ext cx="5041870" cy="2035834"/>
          </a:xfrm>
          <a:custGeom>
            <a:avLst/>
            <a:gdLst>
              <a:gd name="G0" fmla="+- 21600 0 0"/>
              <a:gd name="G1" fmla="+- 14339 0 0"/>
              <a:gd name="G2" fmla="+- 21600 0 0"/>
              <a:gd name="T0" fmla="*/ 42919 w 42919"/>
              <a:gd name="T1" fmla="*/ 17812 h 35939"/>
              <a:gd name="T2" fmla="*/ 5446 w 42919"/>
              <a:gd name="T3" fmla="*/ 0 h 35939"/>
              <a:gd name="T4" fmla="*/ 21600 w 42919"/>
              <a:gd name="T5" fmla="*/ 14339 h 35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2919" h="35939" fill="none" extrusionOk="0">
                <a:moveTo>
                  <a:pt x="42918" y="17811"/>
                </a:moveTo>
                <a:cubicBezTo>
                  <a:pt x="41216" y="28263"/>
                  <a:pt x="32188" y="35938"/>
                  <a:pt x="21600" y="35939"/>
                </a:cubicBezTo>
                <a:cubicBezTo>
                  <a:pt x="9670" y="35939"/>
                  <a:pt x="0" y="26268"/>
                  <a:pt x="0" y="14339"/>
                </a:cubicBezTo>
                <a:cubicBezTo>
                  <a:pt x="-1" y="9054"/>
                  <a:pt x="1937" y="3952"/>
                  <a:pt x="5445" y="-1"/>
                </a:cubicBezTo>
              </a:path>
              <a:path w="42919" h="35939" stroke="0" extrusionOk="0">
                <a:moveTo>
                  <a:pt x="42918" y="17811"/>
                </a:moveTo>
                <a:cubicBezTo>
                  <a:pt x="41216" y="28263"/>
                  <a:pt x="32188" y="35938"/>
                  <a:pt x="21600" y="35939"/>
                </a:cubicBezTo>
                <a:cubicBezTo>
                  <a:pt x="9670" y="35939"/>
                  <a:pt x="0" y="26268"/>
                  <a:pt x="0" y="14339"/>
                </a:cubicBezTo>
                <a:cubicBezTo>
                  <a:pt x="-1" y="9054"/>
                  <a:pt x="1937" y="3952"/>
                  <a:pt x="5445" y="-1"/>
                </a:cubicBezTo>
                <a:lnTo>
                  <a:pt x="21600" y="14339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</a:ln>
          <a:effectLst>
            <a:outerShdw dist="92457" dir="6356724" algn="ctr" rotWithShape="0">
              <a:srgbClr val="CC990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8" name="Arc 6"/>
          <p:cNvSpPr/>
          <p:nvPr/>
        </p:nvSpPr>
        <p:spPr bwMode="auto">
          <a:xfrm>
            <a:off x="997532" y="1554397"/>
            <a:ext cx="3496439" cy="2437433"/>
          </a:xfrm>
          <a:custGeom>
            <a:avLst/>
            <a:gdLst>
              <a:gd name="G0" fmla="+- 21600 0 0"/>
              <a:gd name="G1" fmla="+- 16214 0 0"/>
              <a:gd name="G2" fmla="+- 21600 0 0"/>
              <a:gd name="T0" fmla="*/ 6439 w 21600"/>
              <a:gd name="T1" fmla="*/ 31599 h 31599"/>
              <a:gd name="T2" fmla="*/ 7329 w 21600"/>
              <a:gd name="T3" fmla="*/ 0 h 31599"/>
              <a:gd name="T4" fmla="*/ 21600 w 21600"/>
              <a:gd name="T5" fmla="*/ 16214 h 31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31599" fill="none" extrusionOk="0">
                <a:moveTo>
                  <a:pt x="6438" y="31599"/>
                </a:moveTo>
                <a:cubicBezTo>
                  <a:pt x="2319" y="27539"/>
                  <a:pt x="0" y="21997"/>
                  <a:pt x="0" y="16214"/>
                </a:cubicBezTo>
                <a:cubicBezTo>
                  <a:pt x="-1" y="10007"/>
                  <a:pt x="2669" y="4100"/>
                  <a:pt x="7328" y="-1"/>
                </a:cubicBezTo>
              </a:path>
              <a:path w="21600" h="31599" stroke="0" extrusionOk="0">
                <a:moveTo>
                  <a:pt x="6438" y="31599"/>
                </a:moveTo>
                <a:cubicBezTo>
                  <a:pt x="2319" y="27539"/>
                  <a:pt x="0" y="21997"/>
                  <a:pt x="0" y="16214"/>
                </a:cubicBezTo>
                <a:cubicBezTo>
                  <a:pt x="-1" y="10007"/>
                  <a:pt x="2669" y="4100"/>
                  <a:pt x="7328" y="-1"/>
                </a:cubicBezTo>
                <a:lnTo>
                  <a:pt x="21600" y="16214"/>
                </a:lnTo>
                <a:close/>
              </a:path>
            </a:pathLst>
          </a:custGeom>
          <a:solidFill>
            <a:srgbClr val="FFA219"/>
          </a:solidFill>
          <a:ln w="9525">
            <a:noFill/>
            <a:round/>
          </a:ln>
          <a:effectLst>
            <a:outerShdw dist="141990" dir="6018291" algn="ctr" rotWithShape="0">
              <a:srgbClr val="CC990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3148013" y="1797610"/>
            <a:ext cx="2783366" cy="1509644"/>
            <a:chOff x="3067827" y="1975586"/>
            <a:chExt cx="2783366" cy="1509644"/>
          </a:xfrm>
        </p:grpSpPr>
        <p:sp>
          <p:nvSpPr>
            <p:cNvPr id="10" name="Freeform 8"/>
            <p:cNvSpPr/>
            <p:nvPr/>
          </p:nvSpPr>
          <p:spPr bwMode="auto">
            <a:xfrm>
              <a:off x="4456859" y="2158493"/>
              <a:ext cx="998035" cy="768739"/>
            </a:xfrm>
            <a:custGeom>
              <a:avLst/>
              <a:gdLst>
                <a:gd name="T0" fmla="*/ 0 w 1146"/>
                <a:gd name="T1" fmla="*/ 468 h 882"/>
                <a:gd name="T2" fmla="*/ 1146 w 1146"/>
                <a:gd name="T3" fmla="*/ 0 h 882"/>
                <a:gd name="T4" fmla="*/ 1146 w 1146"/>
                <a:gd name="T5" fmla="*/ 414 h 882"/>
                <a:gd name="T6" fmla="*/ 0 w 1146"/>
                <a:gd name="T7" fmla="*/ 882 h 882"/>
                <a:gd name="T8" fmla="*/ 0 w 1146"/>
                <a:gd name="T9" fmla="*/ 468 h 8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46"/>
                <a:gd name="T16" fmla="*/ 0 h 882"/>
                <a:gd name="T17" fmla="*/ 1146 w 1146"/>
                <a:gd name="T18" fmla="*/ 882 h 8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46" h="882">
                  <a:moveTo>
                    <a:pt x="0" y="468"/>
                  </a:moveTo>
                  <a:lnTo>
                    <a:pt x="1146" y="0"/>
                  </a:lnTo>
                  <a:lnTo>
                    <a:pt x="1146" y="414"/>
                  </a:lnTo>
                  <a:lnTo>
                    <a:pt x="0" y="882"/>
                  </a:lnTo>
                  <a:lnTo>
                    <a:pt x="0" y="468"/>
                  </a:lnTo>
                  <a:close/>
                </a:path>
              </a:pathLst>
            </a:custGeom>
            <a:solidFill>
              <a:srgbClr val="3834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" name="Freeform 9"/>
            <p:cNvSpPr/>
            <p:nvPr/>
          </p:nvSpPr>
          <p:spPr bwMode="auto">
            <a:xfrm>
              <a:off x="4456859" y="1975586"/>
              <a:ext cx="1003337" cy="589808"/>
            </a:xfrm>
            <a:custGeom>
              <a:avLst/>
              <a:gdLst>
                <a:gd name="T0" fmla="*/ 0 w 1152"/>
                <a:gd name="T1" fmla="*/ 0 h 678"/>
                <a:gd name="T2" fmla="*/ 30 w 1152"/>
                <a:gd name="T3" fmla="*/ 0 h 678"/>
                <a:gd name="T4" fmla="*/ 60 w 1152"/>
                <a:gd name="T5" fmla="*/ 0 h 678"/>
                <a:gd name="T6" fmla="*/ 84 w 1152"/>
                <a:gd name="T7" fmla="*/ 0 h 678"/>
                <a:gd name="T8" fmla="*/ 114 w 1152"/>
                <a:gd name="T9" fmla="*/ 0 h 678"/>
                <a:gd name="T10" fmla="*/ 138 w 1152"/>
                <a:gd name="T11" fmla="*/ 0 h 678"/>
                <a:gd name="T12" fmla="*/ 168 w 1152"/>
                <a:gd name="T13" fmla="*/ 0 h 678"/>
                <a:gd name="T14" fmla="*/ 198 w 1152"/>
                <a:gd name="T15" fmla="*/ 6 h 678"/>
                <a:gd name="T16" fmla="*/ 222 w 1152"/>
                <a:gd name="T17" fmla="*/ 6 h 678"/>
                <a:gd name="T18" fmla="*/ 252 w 1152"/>
                <a:gd name="T19" fmla="*/ 6 h 678"/>
                <a:gd name="T20" fmla="*/ 282 w 1152"/>
                <a:gd name="T21" fmla="*/ 6 h 678"/>
                <a:gd name="T22" fmla="*/ 306 w 1152"/>
                <a:gd name="T23" fmla="*/ 12 h 678"/>
                <a:gd name="T24" fmla="*/ 336 w 1152"/>
                <a:gd name="T25" fmla="*/ 12 h 678"/>
                <a:gd name="T26" fmla="*/ 336 w 1152"/>
                <a:gd name="T27" fmla="*/ 12 h 678"/>
                <a:gd name="T28" fmla="*/ 360 w 1152"/>
                <a:gd name="T29" fmla="*/ 18 h 678"/>
                <a:gd name="T30" fmla="*/ 390 w 1152"/>
                <a:gd name="T31" fmla="*/ 18 h 678"/>
                <a:gd name="T32" fmla="*/ 414 w 1152"/>
                <a:gd name="T33" fmla="*/ 24 h 678"/>
                <a:gd name="T34" fmla="*/ 444 w 1152"/>
                <a:gd name="T35" fmla="*/ 24 h 678"/>
                <a:gd name="T36" fmla="*/ 468 w 1152"/>
                <a:gd name="T37" fmla="*/ 30 h 678"/>
                <a:gd name="T38" fmla="*/ 498 w 1152"/>
                <a:gd name="T39" fmla="*/ 30 h 678"/>
                <a:gd name="T40" fmla="*/ 522 w 1152"/>
                <a:gd name="T41" fmla="*/ 36 h 678"/>
                <a:gd name="T42" fmla="*/ 546 w 1152"/>
                <a:gd name="T43" fmla="*/ 42 h 678"/>
                <a:gd name="T44" fmla="*/ 576 w 1152"/>
                <a:gd name="T45" fmla="*/ 42 h 678"/>
                <a:gd name="T46" fmla="*/ 600 w 1152"/>
                <a:gd name="T47" fmla="*/ 48 h 678"/>
                <a:gd name="T48" fmla="*/ 624 w 1152"/>
                <a:gd name="T49" fmla="*/ 54 h 678"/>
                <a:gd name="T50" fmla="*/ 654 w 1152"/>
                <a:gd name="T51" fmla="*/ 60 h 678"/>
                <a:gd name="T52" fmla="*/ 678 w 1152"/>
                <a:gd name="T53" fmla="*/ 60 h 678"/>
                <a:gd name="T54" fmla="*/ 702 w 1152"/>
                <a:gd name="T55" fmla="*/ 66 h 678"/>
                <a:gd name="T56" fmla="*/ 726 w 1152"/>
                <a:gd name="T57" fmla="*/ 72 h 678"/>
                <a:gd name="T58" fmla="*/ 750 w 1152"/>
                <a:gd name="T59" fmla="*/ 78 h 678"/>
                <a:gd name="T60" fmla="*/ 774 w 1152"/>
                <a:gd name="T61" fmla="*/ 84 h 678"/>
                <a:gd name="T62" fmla="*/ 804 w 1152"/>
                <a:gd name="T63" fmla="*/ 90 h 678"/>
                <a:gd name="T64" fmla="*/ 828 w 1152"/>
                <a:gd name="T65" fmla="*/ 96 h 678"/>
                <a:gd name="T66" fmla="*/ 846 w 1152"/>
                <a:gd name="T67" fmla="*/ 102 h 678"/>
                <a:gd name="T68" fmla="*/ 870 w 1152"/>
                <a:gd name="T69" fmla="*/ 108 h 678"/>
                <a:gd name="T70" fmla="*/ 894 w 1152"/>
                <a:gd name="T71" fmla="*/ 114 h 678"/>
                <a:gd name="T72" fmla="*/ 918 w 1152"/>
                <a:gd name="T73" fmla="*/ 120 h 678"/>
                <a:gd name="T74" fmla="*/ 918 w 1152"/>
                <a:gd name="T75" fmla="*/ 120 h 678"/>
                <a:gd name="T76" fmla="*/ 942 w 1152"/>
                <a:gd name="T77" fmla="*/ 126 h 678"/>
                <a:gd name="T78" fmla="*/ 966 w 1152"/>
                <a:gd name="T79" fmla="*/ 138 h 678"/>
                <a:gd name="T80" fmla="*/ 984 w 1152"/>
                <a:gd name="T81" fmla="*/ 144 h 678"/>
                <a:gd name="T82" fmla="*/ 1008 w 1152"/>
                <a:gd name="T83" fmla="*/ 150 h 678"/>
                <a:gd name="T84" fmla="*/ 1032 w 1152"/>
                <a:gd name="T85" fmla="*/ 156 h 678"/>
                <a:gd name="T86" fmla="*/ 1050 w 1152"/>
                <a:gd name="T87" fmla="*/ 162 h 678"/>
                <a:gd name="T88" fmla="*/ 1074 w 1152"/>
                <a:gd name="T89" fmla="*/ 174 h 678"/>
                <a:gd name="T90" fmla="*/ 1092 w 1152"/>
                <a:gd name="T91" fmla="*/ 180 h 678"/>
                <a:gd name="T92" fmla="*/ 1110 w 1152"/>
                <a:gd name="T93" fmla="*/ 186 h 678"/>
                <a:gd name="T94" fmla="*/ 1134 w 1152"/>
                <a:gd name="T95" fmla="*/ 198 h 678"/>
                <a:gd name="T96" fmla="*/ 1152 w 1152"/>
                <a:gd name="T97" fmla="*/ 204 h 678"/>
                <a:gd name="T98" fmla="*/ 0 w 1152"/>
                <a:gd name="T99" fmla="*/ 678 h 678"/>
                <a:gd name="T100" fmla="*/ 0 w 1152"/>
                <a:gd name="T101" fmla="*/ 0 h 6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52"/>
                <a:gd name="T154" fmla="*/ 0 h 678"/>
                <a:gd name="T155" fmla="*/ 1152 w 1152"/>
                <a:gd name="T156" fmla="*/ 678 h 6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52" h="678">
                  <a:moveTo>
                    <a:pt x="0" y="0"/>
                  </a:moveTo>
                  <a:lnTo>
                    <a:pt x="30" y="0"/>
                  </a:lnTo>
                  <a:lnTo>
                    <a:pt x="60" y="0"/>
                  </a:lnTo>
                  <a:lnTo>
                    <a:pt x="84" y="0"/>
                  </a:lnTo>
                  <a:lnTo>
                    <a:pt x="114" y="0"/>
                  </a:lnTo>
                  <a:lnTo>
                    <a:pt x="138" y="0"/>
                  </a:lnTo>
                  <a:lnTo>
                    <a:pt x="168" y="0"/>
                  </a:lnTo>
                  <a:lnTo>
                    <a:pt x="198" y="6"/>
                  </a:lnTo>
                  <a:lnTo>
                    <a:pt x="222" y="6"/>
                  </a:lnTo>
                  <a:lnTo>
                    <a:pt x="252" y="6"/>
                  </a:lnTo>
                  <a:lnTo>
                    <a:pt x="282" y="6"/>
                  </a:lnTo>
                  <a:lnTo>
                    <a:pt x="306" y="12"/>
                  </a:lnTo>
                  <a:lnTo>
                    <a:pt x="336" y="12"/>
                  </a:lnTo>
                  <a:lnTo>
                    <a:pt x="360" y="18"/>
                  </a:lnTo>
                  <a:lnTo>
                    <a:pt x="390" y="18"/>
                  </a:lnTo>
                  <a:lnTo>
                    <a:pt x="414" y="24"/>
                  </a:lnTo>
                  <a:lnTo>
                    <a:pt x="444" y="24"/>
                  </a:lnTo>
                  <a:lnTo>
                    <a:pt x="468" y="30"/>
                  </a:lnTo>
                  <a:lnTo>
                    <a:pt x="498" y="30"/>
                  </a:lnTo>
                  <a:lnTo>
                    <a:pt x="522" y="36"/>
                  </a:lnTo>
                  <a:lnTo>
                    <a:pt x="546" y="42"/>
                  </a:lnTo>
                  <a:lnTo>
                    <a:pt x="576" y="42"/>
                  </a:lnTo>
                  <a:lnTo>
                    <a:pt x="600" y="48"/>
                  </a:lnTo>
                  <a:lnTo>
                    <a:pt x="624" y="54"/>
                  </a:lnTo>
                  <a:lnTo>
                    <a:pt x="654" y="60"/>
                  </a:lnTo>
                  <a:lnTo>
                    <a:pt x="678" y="60"/>
                  </a:lnTo>
                  <a:lnTo>
                    <a:pt x="702" y="66"/>
                  </a:lnTo>
                  <a:lnTo>
                    <a:pt x="726" y="72"/>
                  </a:lnTo>
                  <a:lnTo>
                    <a:pt x="750" y="78"/>
                  </a:lnTo>
                  <a:lnTo>
                    <a:pt x="774" y="84"/>
                  </a:lnTo>
                  <a:lnTo>
                    <a:pt x="804" y="90"/>
                  </a:lnTo>
                  <a:lnTo>
                    <a:pt x="828" y="96"/>
                  </a:lnTo>
                  <a:lnTo>
                    <a:pt x="846" y="102"/>
                  </a:lnTo>
                  <a:lnTo>
                    <a:pt x="870" y="108"/>
                  </a:lnTo>
                  <a:lnTo>
                    <a:pt x="894" y="114"/>
                  </a:lnTo>
                  <a:lnTo>
                    <a:pt x="918" y="120"/>
                  </a:lnTo>
                  <a:lnTo>
                    <a:pt x="942" y="126"/>
                  </a:lnTo>
                  <a:lnTo>
                    <a:pt x="966" y="138"/>
                  </a:lnTo>
                  <a:lnTo>
                    <a:pt x="984" y="144"/>
                  </a:lnTo>
                  <a:lnTo>
                    <a:pt x="1008" y="150"/>
                  </a:lnTo>
                  <a:lnTo>
                    <a:pt x="1032" y="156"/>
                  </a:lnTo>
                  <a:lnTo>
                    <a:pt x="1050" y="162"/>
                  </a:lnTo>
                  <a:lnTo>
                    <a:pt x="1074" y="174"/>
                  </a:lnTo>
                  <a:lnTo>
                    <a:pt x="1092" y="180"/>
                  </a:lnTo>
                  <a:lnTo>
                    <a:pt x="1110" y="186"/>
                  </a:lnTo>
                  <a:lnTo>
                    <a:pt x="1134" y="198"/>
                  </a:lnTo>
                  <a:lnTo>
                    <a:pt x="1152" y="204"/>
                  </a:lnTo>
                  <a:lnTo>
                    <a:pt x="0" y="6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E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2" name="Freeform 10"/>
            <p:cNvSpPr/>
            <p:nvPr/>
          </p:nvSpPr>
          <p:spPr bwMode="auto">
            <a:xfrm>
              <a:off x="3458823" y="2158493"/>
              <a:ext cx="998036" cy="768739"/>
            </a:xfrm>
            <a:custGeom>
              <a:avLst/>
              <a:gdLst>
                <a:gd name="T0" fmla="*/ 1146 w 1146"/>
                <a:gd name="T1" fmla="*/ 468 h 882"/>
                <a:gd name="T2" fmla="*/ 0 w 1146"/>
                <a:gd name="T3" fmla="*/ 0 h 882"/>
                <a:gd name="T4" fmla="*/ 0 w 1146"/>
                <a:gd name="T5" fmla="*/ 414 h 882"/>
                <a:gd name="T6" fmla="*/ 1146 w 1146"/>
                <a:gd name="T7" fmla="*/ 882 h 882"/>
                <a:gd name="T8" fmla="*/ 1146 w 1146"/>
                <a:gd name="T9" fmla="*/ 468 h 8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46"/>
                <a:gd name="T16" fmla="*/ 0 h 882"/>
                <a:gd name="T17" fmla="*/ 1146 w 1146"/>
                <a:gd name="T18" fmla="*/ 882 h 8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46" h="882">
                  <a:moveTo>
                    <a:pt x="1146" y="468"/>
                  </a:moveTo>
                  <a:lnTo>
                    <a:pt x="0" y="0"/>
                  </a:lnTo>
                  <a:lnTo>
                    <a:pt x="0" y="414"/>
                  </a:lnTo>
                  <a:lnTo>
                    <a:pt x="1146" y="882"/>
                  </a:lnTo>
                  <a:lnTo>
                    <a:pt x="1146" y="468"/>
                  </a:lnTo>
                  <a:close/>
                </a:path>
              </a:pathLst>
            </a:custGeom>
            <a:solidFill>
              <a:srgbClr val="634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3458823" y="1975586"/>
              <a:ext cx="998036" cy="589808"/>
            </a:xfrm>
            <a:custGeom>
              <a:avLst/>
              <a:gdLst>
                <a:gd name="T0" fmla="*/ 0 w 1146"/>
                <a:gd name="T1" fmla="*/ 204 h 678"/>
                <a:gd name="T2" fmla="*/ 18 w 1146"/>
                <a:gd name="T3" fmla="*/ 198 h 678"/>
                <a:gd name="T4" fmla="*/ 36 w 1146"/>
                <a:gd name="T5" fmla="*/ 186 h 678"/>
                <a:gd name="T6" fmla="*/ 54 w 1146"/>
                <a:gd name="T7" fmla="*/ 180 h 678"/>
                <a:gd name="T8" fmla="*/ 78 w 1146"/>
                <a:gd name="T9" fmla="*/ 174 h 678"/>
                <a:gd name="T10" fmla="*/ 96 w 1146"/>
                <a:gd name="T11" fmla="*/ 162 h 678"/>
                <a:gd name="T12" fmla="*/ 120 w 1146"/>
                <a:gd name="T13" fmla="*/ 156 h 678"/>
                <a:gd name="T14" fmla="*/ 144 w 1146"/>
                <a:gd name="T15" fmla="*/ 150 h 678"/>
                <a:gd name="T16" fmla="*/ 162 w 1146"/>
                <a:gd name="T17" fmla="*/ 144 h 678"/>
                <a:gd name="T18" fmla="*/ 186 w 1146"/>
                <a:gd name="T19" fmla="*/ 138 h 678"/>
                <a:gd name="T20" fmla="*/ 210 w 1146"/>
                <a:gd name="T21" fmla="*/ 126 h 678"/>
                <a:gd name="T22" fmla="*/ 228 w 1146"/>
                <a:gd name="T23" fmla="*/ 120 h 678"/>
                <a:gd name="T24" fmla="*/ 252 w 1146"/>
                <a:gd name="T25" fmla="*/ 114 h 678"/>
                <a:gd name="T26" fmla="*/ 252 w 1146"/>
                <a:gd name="T27" fmla="*/ 114 h 678"/>
                <a:gd name="T28" fmla="*/ 276 w 1146"/>
                <a:gd name="T29" fmla="*/ 108 h 678"/>
                <a:gd name="T30" fmla="*/ 300 w 1146"/>
                <a:gd name="T31" fmla="*/ 102 h 678"/>
                <a:gd name="T32" fmla="*/ 324 w 1146"/>
                <a:gd name="T33" fmla="*/ 96 h 678"/>
                <a:gd name="T34" fmla="*/ 348 w 1146"/>
                <a:gd name="T35" fmla="*/ 90 h 678"/>
                <a:gd name="T36" fmla="*/ 372 w 1146"/>
                <a:gd name="T37" fmla="*/ 84 h 678"/>
                <a:gd name="T38" fmla="*/ 396 w 1146"/>
                <a:gd name="T39" fmla="*/ 78 h 678"/>
                <a:gd name="T40" fmla="*/ 420 w 1146"/>
                <a:gd name="T41" fmla="*/ 72 h 678"/>
                <a:gd name="T42" fmla="*/ 444 w 1146"/>
                <a:gd name="T43" fmla="*/ 66 h 678"/>
                <a:gd name="T44" fmla="*/ 474 w 1146"/>
                <a:gd name="T45" fmla="*/ 60 h 678"/>
                <a:gd name="T46" fmla="*/ 498 w 1146"/>
                <a:gd name="T47" fmla="*/ 60 h 678"/>
                <a:gd name="T48" fmla="*/ 522 w 1146"/>
                <a:gd name="T49" fmla="*/ 54 h 678"/>
                <a:gd name="T50" fmla="*/ 546 w 1146"/>
                <a:gd name="T51" fmla="*/ 48 h 678"/>
                <a:gd name="T52" fmla="*/ 576 w 1146"/>
                <a:gd name="T53" fmla="*/ 42 h 678"/>
                <a:gd name="T54" fmla="*/ 600 w 1146"/>
                <a:gd name="T55" fmla="*/ 42 h 678"/>
                <a:gd name="T56" fmla="*/ 624 w 1146"/>
                <a:gd name="T57" fmla="*/ 36 h 678"/>
                <a:gd name="T58" fmla="*/ 654 w 1146"/>
                <a:gd name="T59" fmla="*/ 30 h 678"/>
                <a:gd name="T60" fmla="*/ 678 w 1146"/>
                <a:gd name="T61" fmla="*/ 30 h 678"/>
                <a:gd name="T62" fmla="*/ 708 w 1146"/>
                <a:gd name="T63" fmla="*/ 24 h 678"/>
                <a:gd name="T64" fmla="*/ 732 w 1146"/>
                <a:gd name="T65" fmla="*/ 24 h 678"/>
                <a:gd name="T66" fmla="*/ 762 w 1146"/>
                <a:gd name="T67" fmla="*/ 18 h 678"/>
                <a:gd name="T68" fmla="*/ 786 w 1146"/>
                <a:gd name="T69" fmla="*/ 18 h 678"/>
                <a:gd name="T70" fmla="*/ 816 w 1146"/>
                <a:gd name="T71" fmla="*/ 12 h 678"/>
                <a:gd name="T72" fmla="*/ 840 w 1146"/>
                <a:gd name="T73" fmla="*/ 12 h 678"/>
                <a:gd name="T74" fmla="*/ 840 w 1146"/>
                <a:gd name="T75" fmla="*/ 12 h 678"/>
                <a:gd name="T76" fmla="*/ 870 w 1146"/>
                <a:gd name="T77" fmla="*/ 6 h 678"/>
                <a:gd name="T78" fmla="*/ 900 w 1146"/>
                <a:gd name="T79" fmla="*/ 6 h 678"/>
                <a:gd name="T80" fmla="*/ 924 w 1146"/>
                <a:gd name="T81" fmla="*/ 6 h 678"/>
                <a:gd name="T82" fmla="*/ 954 w 1146"/>
                <a:gd name="T83" fmla="*/ 6 h 678"/>
                <a:gd name="T84" fmla="*/ 978 w 1146"/>
                <a:gd name="T85" fmla="*/ 0 h 678"/>
                <a:gd name="T86" fmla="*/ 1008 w 1146"/>
                <a:gd name="T87" fmla="*/ 0 h 678"/>
                <a:gd name="T88" fmla="*/ 1038 w 1146"/>
                <a:gd name="T89" fmla="*/ 0 h 678"/>
                <a:gd name="T90" fmla="*/ 1062 w 1146"/>
                <a:gd name="T91" fmla="*/ 0 h 678"/>
                <a:gd name="T92" fmla="*/ 1092 w 1146"/>
                <a:gd name="T93" fmla="*/ 0 h 678"/>
                <a:gd name="T94" fmla="*/ 1122 w 1146"/>
                <a:gd name="T95" fmla="*/ 0 h 678"/>
                <a:gd name="T96" fmla="*/ 1146 w 1146"/>
                <a:gd name="T97" fmla="*/ 0 h 678"/>
                <a:gd name="T98" fmla="*/ 1146 w 1146"/>
                <a:gd name="T99" fmla="*/ 678 h 678"/>
                <a:gd name="T100" fmla="*/ 0 w 1146"/>
                <a:gd name="T101" fmla="*/ 204 h 67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46"/>
                <a:gd name="T154" fmla="*/ 0 h 678"/>
                <a:gd name="T155" fmla="*/ 1146 w 1146"/>
                <a:gd name="T156" fmla="*/ 678 h 67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46" h="678">
                  <a:moveTo>
                    <a:pt x="0" y="204"/>
                  </a:moveTo>
                  <a:lnTo>
                    <a:pt x="18" y="198"/>
                  </a:lnTo>
                  <a:lnTo>
                    <a:pt x="36" y="186"/>
                  </a:lnTo>
                  <a:lnTo>
                    <a:pt x="54" y="180"/>
                  </a:lnTo>
                  <a:lnTo>
                    <a:pt x="78" y="174"/>
                  </a:lnTo>
                  <a:lnTo>
                    <a:pt x="96" y="162"/>
                  </a:lnTo>
                  <a:lnTo>
                    <a:pt x="120" y="156"/>
                  </a:lnTo>
                  <a:lnTo>
                    <a:pt x="144" y="150"/>
                  </a:lnTo>
                  <a:lnTo>
                    <a:pt x="162" y="144"/>
                  </a:lnTo>
                  <a:lnTo>
                    <a:pt x="186" y="138"/>
                  </a:lnTo>
                  <a:lnTo>
                    <a:pt x="210" y="126"/>
                  </a:lnTo>
                  <a:lnTo>
                    <a:pt x="228" y="120"/>
                  </a:lnTo>
                  <a:lnTo>
                    <a:pt x="252" y="114"/>
                  </a:lnTo>
                  <a:lnTo>
                    <a:pt x="276" y="108"/>
                  </a:lnTo>
                  <a:lnTo>
                    <a:pt x="300" y="102"/>
                  </a:lnTo>
                  <a:lnTo>
                    <a:pt x="324" y="96"/>
                  </a:lnTo>
                  <a:lnTo>
                    <a:pt x="348" y="90"/>
                  </a:lnTo>
                  <a:lnTo>
                    <a:pt x="372" y="84"/>
                  </a:lnTo>
                  <a:lnTo>
                    <a:pt x="396" y="78"/>
                  </a:lnTo>
                  <a:lnTo>
                    <a:pt x="420" y="72"/>
                  </a:lnTo>
                  <a:lnTo>
                    <a:pt x="444" y="66"/>
                  </a:lnTo>
                  <a:lnTo>
                    <a:pt x="474" y="60"/>
                  </a:lnTo>
                  <a:lnTo>
                    <a:pt x="498" y="60"/>
                  </a:lnTo>
                  <a:lnTo>
                    <a:pt x="522" y="54"/>
                  </a:lnTo>
                  <a:lnTo>
                    <a:pt x="546" y="48"/>
                  </a:lnTo>
                  <a:lnTo>
                    <a:pt x="576" y="42"/>
                  </a:lnTo>
                  <a:lnTo>
                    <a:pt x="600" y="42"/>
                  </a:lnTo>
                  <a:lnTo>
                    <a:pt x="624" y="36"/>
                  </a:lnTo>
                  <a:lnTo>
                    <a:pt x="654" y="30"/>
                  </a:lnTo>
                  <a:lnTo>
                    <a:pt x="678" y="30"/>
                  </a:lnTo>
                  <a:lnTo>
                    <a:pt x="708" y="24"/>
                  </a:lnTo>
                  <a:lnTo>
                    <a:pt x="732" y="24"/>
                  </a:lnTo>
                  <a:lnTo>
                    <a:pt x="762" y="18"/>
                  </a:lnTo>
                  <a:lnTo>
                    <a:pt x="786" y="18"/>
                  </a:lnTo>
                  <a:lnTo>
                    <a:pt x="816" y="12"/>
                  </a:lnTo>
                  <a:lnTo>
                    <a:pt x="840" y="12"/>
                  </a:lnTo>
                  <a:lnTo>
                    <a:pt x="870" y="6"/>
                  </a:lnTo>
                  <a:lnTo>
                    <a:pt x="900" y="6"/>
                  </a:lnTo>
                  <a:lnTo>
                    <a:pt x="924" y="6"/>
                  </a:lnTo>
                  <a:lnTo>
                    <a:pt x="954" y="6"/>
                  </a:lnTo>
                  <a:lnTo>
                    <a:pt x="978" y="0"/>
                  </a:lnTo>
                  <a:lnTo>
                    <a:pt x="1008" y="0"/>
                  </a:lnTo>
                  <a:lnTo>
                    <a:pt x="1038" y="0"/>
                  </a:lnTo>
                  <a:lnTo>
                    <a:pt x="1062" y="0"/>
                  </a:lnTo>
                  <a:lnTo>
                    <a:pt x="1092" y="0"/>
                  </a:lnTo>
                  <a:lnTo>
                    <a:pt x="1122" y="0"/>
                  </a:lnTo>
                  <a:lnTo>
                    <a:pt x="1146" y="0"/>
                  </a:lnTo>
                  <a:lnTo>
                    <a:pt x="1146" y="678"/>
                  </a:lnTo>
                  <a:lnTo>
                    <a:pt x="0" y="204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4" name="Freeform 12"/>
            <p:cNvSpPr/>
            <p:nvPr/>
          </p:nvSpPr>
          <p:spPr bwMode="auto">
            <a:xfrm>
              <a:off x="5772993" y="2565394"/>
              <a:ext cx="78200" cy="554022"/>
            </a:xfrm>
            <a:custGeom>
              <a:avLst/>
              <a:gdLst>
                <a:gd name="T0" fmla="*/ 90 w 90"/>
                <a:gd name="T1" fmla="*/ 0 h 636"/>
                <a:gd name="T2" fmla="*/ 90 w 90"/>
                <a:gd name="T3" fmla="*/ 12 h 636"/>
                <a:gd name="T4" fmla="*/ 90 w 90"/>
                <a:gd name="T5" fmla="*/ 24 h 636"/>
                <a:gd name="T6" fmla="*/ 84 w 90"/>
                <a:gd name="T7" fmla="*/ 36 h 636"/>
                <a:gd name="T8" fmla="*/ 84 w 90"/>
                <a:gd name="T9" fmla="*/ 48 h 636"/>
                <a:gd name="T10" fmla="*/ 84 w 90"/>
                <a:gd name="T11" fmla="*/ 60 h 636"/>
                <a:gd name="T12" fmla="*/ 84 w 90"/>
                <a:gd name="T13" fmla="*/ 60 h 636"/>
                <a:gd name="T14" fmla="*/ 78 w 90"/>
                <a:gd name="T15" fmla="*/ 72 h 636"/>
                <a:gd name="T16" fmla="*/ 78 w 90"/>
                <a:gd name="T17" fmla="*/ 84 h 636"/>
                <a:gd name="T18" fmla="*/ 72 w 90"/>
                <a:gd name="T19" fmla="*/ 90 h 636"/>
                <a:gd name="T20" fmla="*/ 66 w 90"/>
                <a:gd name="T21" fmla="*/ 102 h 636"/>
                <a:gd name="T22" fmla="*/ 66 w 90"/>
                <a:gd name="T23" fmla="*/ 114 h 636"/>
                <a:gd name="T24" fmla="*/ 60 w 90"/>
                <a:gd name="T25" fmla="*/ 126 h 636"/>
                <a:gd name="T26" fmla="*/ 54 w 90"/>
                <a:gd name="T27" fmla="*/ 138 h 636"/>
                <a:gd name="T28" fmla="*/ 48 w 90"/>
                <a:gd name="T29" fmla="*/ 150 h 636"/>
                <a:gd name="T30" fmla="*/ 42 w 90"/>
                <a:gd name="T31" fmla="*/ 162 h 636"/>
                <a:gd name="T32" fmla="*/ 42 w 90"/>
                <a:gd name="T33" fmla="*/ 162 h 636"/>
                <a:gd name="T34" fmla="*/ 36 w 90"/>
                <a:gd name="T35" fmla="*/ 174 h 636"/>
                <a:gd name="T36" fmla="*/ 24 w 90"/>
                <a:gd name="T37" fmla="*/ 186 h 636"/>
                <a:gd name="T38" fmla="*/ 18 w 90"/>
                <a:gd name="T39" fmla="*/ 198 h 636"/>
                <a:gd name="T40" fmla="*/ 12 w 90"/>
                <a:gd name="T41" fmla="*/ 210 h 636"/>
                <a:gd name="T42" fmla="*/ 0 w 90"/>
                <a:gd name="T43" fmla="*/ 222 h 636"/>
                <a:gd name="T44" fmla="*/ 0 w 90"/>
                <a:gd name="T45" fmla="*/ 636 h 636"/>
                <a:gd name="T46" fmla="*/ 12 w 90"/>
                <a:gd name="T47" fmla="*/ 624 h 636"/>
                <a:gd name="T48" fmla="*/ 18 w 90"/>
                <a:gd name="T49" fmla="*/ 612 h 636"/>
                <a:gd name="T50" fmla="*/ 24 w 90"/>
                <a:gd name="T51" fmla="*/ 600 h 636"/>
                <a:gd name="T52" fmla="*/ 36 w 90"/>
                <a:gd name="T53" fmla="*/ 588 h 636"/>
                <a:gd name="T54" fmla="*/ 42 w 90"/>
                <a:gd name="T55" fmla="*/ 576 h 636"/>
                <a:gd name="T56" fmla="*/ 42 w 90"/>
                <a:gd name="T57" fmla="*/ 576 h 636"/>
                <a:gd name="T58" fmla="*/ 48 w 90"/>
                <a:gd name="T59" fmla="*/ 564 h 636"/>
                <a:gd name="T60" fmla="*/ 54 w 90"/>
                <a:gd name="T61" fmla="*/ 552 h 636"/>
                <a:gd name="T62" fmla="*/ 60 w 90"/>
                <a:gd name="T63" fmla="*/ 540 h 636"/>
                <a:gd name="T64" fmla="*/ 66 w 90"/>
                <a:gd name="T65" fmla="*/ 528 h 636"/>
                <a:gd name="T66" fmla="*/ 66 w 90"/>
                <a:gd name="T67" fmla="*/ 516 h 636"/>
                <a:gd name="T68" fmla="*/ 72 w 90"/>
                <a:gd name="T69" fmla="*/ 504 h 636"/>
                <a:gd name="T70" fmla="*/ 78 w 90"/>
                <a:gd name="T71" fmla="*/ 498 h 636"/>
                <a:gd name="T72" fmla="*/ 78 w 90"/>
                <a:gd name="T73" fmla="*/ 486 h 636"/>
                <a:gd name="T74" fmla="*/ 84 w 90"/>
                <a:gd name="T75" fmla="*/ 474 h 636"/>
                <a:gd name="T76" fmla="*/ 84 w 90"/>
                <a:gd name="T77" fmla="*/ 474 h 636"/>
                <a:gd name="T78" fmla="*/ 84 w 90"/>
                <a:gd name="T79" fmla="*/ 462 h 636"/>
                <a:gd name="T80" fmla="*/ 84 w 90"/>
                <a:gd name="T81" fmla="*/ 450 h 636"/>
                <a:gd name="T82" fmla="*/ 90 w 90"/>
                <a:gd name="T83" fmla="*/ 438 h 636"/>
                <a:gd name="T84" fmla="*/ 90 w 90"/>
                <a:gd name="T85" fmla="*/ 426 h 636"/>
                <a:gd name="T86" fmla="*/ 90 w 90"/>
                <a:gd name="T87" fmla="*/ 414 h 636"/>
                <a:gd name="T88" fmla="*/ 90 w 90"/>
                <a:gd name="T89" fmla="*/ 0 h 6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0"/>
                <a:gd name="T136" fmla="*/ 0 h 636"/>
                <a:gd name="T137" fmla="*/ 90 w 90"/>
                <a:gd name="T138" fmla="*/ 636 h 6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0" h="636">
                  <a:moveTo>
                    <a:pt x="90" y="0"/>
                  </a:moveTo>
                  <a:lnTo>
                    <a:pt x="90" y="12"/>
                  </a:lnTo>
                  <a:lnTo>
                    <a:pt x="90" y="24"/>
                  </a:lnTo>
                  <a:lnTo>
                    <a:pt x="84" y="36"/>
                  </a:lnTo>
                  <a:lnTo>
                    <a:pt x="84" y="48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78" y="84"/>
                  </a:lnTo>
                  <a:lnTo>
                    <a:pt x="72" y="90"/>
                  </a:lnTo>
                  <a:lnTo>
                    <a:pt x="66" y="102"/>
                  </a:lnTo>
                  <a:lnTo>
                    <a:pt x="66" y="114"/>
                  </a:lnTo>
                  <a:lnTo>
                    <a:pt x="60" y="126"/>
                  </a:lnTo>
                  <a:lnTo>
                    <a:pt x="54" y="138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24" y="186"/>
                  </a:lnTo>
                  <a:lnTo>
                    <a:pt x="18" y="198"/>
                  </a:lnTo>
                  <a:lnTo>
                    <a:pt x="12" y="210"/>
                  </a:lnTo>
                  <a:lnTo>
                    <a:pt x="0" y="222"/>
                  </a:lnTo>
                  <a:lnTo>
                    <a:pt x="0" y="636"/>
                  </a:lnTo>
                  <a:lnTo>
                    <a:pt x="12" y="624"/>
                  </a:lnTo>
                  <a:lnTo>
                    <a:pt x="18" y="612"/>
                  </a:lnTo>
                  <a:lnTo>
                    <a:pt x="24" y="600"/>
                  </a:lnTo>
                  <a:lnTo>
                    <a:pt x="36" y="588"/>
                  </a:lnTo>
                  <a:lnTo>
                    <a:pt x="42" y="576"/>
                  </a:lnTo>
                  <a:lnTo>
                    <a:pt x="48" y="564"/>
                  </a:lnTo>
                  <a:lnTo>
                    <a:pt x="54" y="552"/>
                  </a:lnTo>
                  <a:lnTo>
                    <a:pt x="60" y="540"/>
                  </a:lnTo>
                  <a:lnTo>
                    <a:pt x="66" y="528"/>
                  </a:lnTo>
                  <a:lnTo>
                    <a:pt x="66" y="516"/>
                  </a:lnTo>
                  <a:lnTo>
                    <a:pt x="72" y="504"/>
                  </a:lnTo>
                  <a:lnTo>
                    <a:pt x="78" y="498"/>
                  </a:lnTo>
                  <a:lnTo>
                    <a:pt x="78" y="486"/>
                  </a:lnTo>
                  <a:lnTo>
                    <a:pt x="84" y="474"/>
                  </a:lnTo>
                  <a:lnTo>
                    <a:pt x="84" y="462"/>
                  </a:lnTo>
                  <a:lnTo>
                    <a:pt x="84" y="450"/>
                  </a:lnTo>
                  <a:lnTo>
                    <a:pt x="90" y="438"/>
                  </a:lnTo>
                  <a:lnTo>
                    <a:pt x="90" y="426"/>
                  </a:lnTo>
                  <a:lnTo>
                    <a:pt x="90" y="414"/>
                  </a:lnTo>
                  <a:lnTo>
                    <a:pt x="90" y="0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4456859" y="2565394"/>
              <a:ext cx="1316134" cy="554022"/>
            </a:xfrm>
            <a:custGeom>
              <a:avLst/>
              <a:gdLst>
                <a:gd name="T0" fmla="*/ 0 w 1512"/>
                <a:gd name="T1" fmla="*/ 0 h 636"/>
                <a:gd name="T2" fmla="*/ 1512 w 1512"/>
                <a:gd name="T3" fmla="*/ 222 h 636"/>
                <a:gd name="T4" fmla="*/ 1512 w 1512"/>
                <a:gd name="T5" fmla="*/ 636 h 636"/>
                <a:gd name="T6" fmla="*/ 0 w 1512"/>
                <a:gd name="T7" fmla="*/ 414 h 636"/>
                <a:gd name="T8" fmla="*/ 0 w 1512"/>
                <a:gd name="T9" fmla="*/ 0 h 6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12"/>
                <a:gd name="T16" fmla="*/ 0 h 636"/>
                <a:gd name="T17" fmla="*/ 1512 w 1512"/>
                <a:gd name="T18" fmla="*/ 636 h 6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12" h="636">
                  <a:moveTo>
                    <a:pt x="0" y="0"/>
                  </a:moveTo>
                  <a:lnTo>
                    <a:pt x="1512" y="222"/>
                  </a:lnTo>
                  <a:lnTo>
                    <a:pt x="1512" y="636"/>
                  </a:lnTo>
                  <a:lnTo>
                    <a:pt x="0" y="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4456859" y="2153191"/>
              <a:ext cx="1394334" cy="605713"/>
            </a:xfrm>
            <a:custGeom>
              <a:avLst/>
              <a:gdLst>
                <a:gd name="T0" fmla="*/ 1170 w 1602"/>
                <a:gd name="T1" fmla="*/ 12 h 696"/>
                <a:gd name="T2" fmla="*/ 1206 w 1602"/>
                <a:gd name="T3" fmla="*/ 30 h 696"/>
                <a:gd name="T4" fmla="*/ 1242 w 1602"/>
                <a:gd name="T5" fmla="*/ 48 h 696"/>
                <a:gd name="T6" fmla="*/ 1278 w 1602"/>
                <a:gd name="T7" fmla="*/ 66 h 696"/>
                <a:gd name="T8" fmla="*/ 1314 w 1602"/>
                <a:gd name="T9" fmla="*/ 84 h 696"/>
                <a:gd name="T10" fmla="*/ 1344 w 1602"/>
                <a:gd name="T11" fmla="*/ 102 h 696"/>
                <a:gd name="T12" fmla="*/ 1374 w 1602"/>
                <a:gd name="T13" fmla="*/ 126 h 696"/>
                <a:gd name="T14" fmla="*/ 1398 w 1602"/>
                <a:gd name="T15" fmla="*/ 144 h 696"/>
                <a:gd name="T16" fmla="*/ 1428 w 1602"/>
                <a:gd name="T17" fmla="*/ 162 h 696"/>
                <a:gd name="T18" fmla="*/ 1452 w 1602"/>
                <a:gd name="T19" fmla="*/ 186 h 696"/>
                <a:gd name="T20" fmla="*/ 1476 w 1602"/>
                <a:gd name="T21" fmla="*/ 210 h 696"/>
                <a:gd name="T22" fmla="*/ 1494 w 1602"/>
                <a:gd name="T23" fmla="*/ 228 h 696"/>
                <a:gd name="T24" fmla="*/ 1512 w 1602"/>
                <a:gd name="T25" fmla="*/ 252 h 696"/>
                <a:gd name="T26" fmla="*/ 1530 w 1602"/>
                <a:gd name="T27" fmla="*/ 276 h 696"/>
                <a:gd name="T28" fmla="*/ 1548 w 1602"/>
                <a:gd name="T29" fmla="*/ 300 h 696"/>
                <a:gd name="T30" fmla="*/ 1560 w 1602"/>
                <a:gd name="T31" fmla="*/ 318 h 696"/>
                <a:gd name="T32" fmla="*/ 1572 w 1602"/>
                <a:gd name="T33" fmla="*/ 342 h 696"/>
                <a:gd name="T34" fmla="*/ 1578 w 1602"/>
                <a:gd name="T35" fmla="*/ 366 h 696"/>
                <a:gd name="T36" fmla="*/ 1590 w 1602"/>
                <a:gd name="T37" fmla="*/ 390 h 696"/>
                <a:gd name="T38" fmla="*/ 1596 w 1602"/>
                <a:gd name="T39" fmla="*/ 414 h 696"/>
                <a:gd name="T40" fmla="*/ 1596 w 1602"/>
                <a:gd name="T41" fmla="*/ 438 h 696"/>
                <a:gd name="T42" fmla="*/ 1602 w 1602"/>
                <a:gd name="T43" fmla="*/ 462 h 696"/>
                <a:gd name="T44" fmla="*/ 1602 w 1602"/>
                <a:gd name="T45" fmla="*/ 486 h 696"/>
                <a:gd name="T46" fmla="*/ 1596 w 1602"/>
                <a:gd name="T47" fmla="*/ 510 h 696"/>
                <a:gd name="T48" fmla="*/ 1596 w 1602"/>
                <a:gd name="T49" fmla="*/ 534 h 696"/>
                <a:gd name="T50" fmla="*/ 1590 w 1602"/>
                <a:gd name="T51" fmla="*/ 558 h 696"/>
                <a:gd name="T52" fmla="*/ 1578 w 1602"/>
                <a:gd name="T53" fmla="*/ 576 h 696"/>
                <a:gd name="T54" fmla="*/ 1572 w 1602"/>
                <a:gd name="T55" fmla="*/ 600 h 696"/>
                <a:gd name="T56" fmla="*/ 1560 w 1602"/>
                <a:gd name="T57" fmla="*/ 624 h 696"/>
                <a:gd name="T58" fmla="*/ 1548 w 1602"/>
                <a:gd name="T59" fmla="*/ 648 h 696"/>
                <a:gd name="T60" fmla="*/ 1530 w 1602"/>
                <a:gd name="T61" fmla="*/ 672 h 696"/>
                <a:gd name="T62" fmla="*/ 1512 w 1602"/>
                <a:gd name="T63" fmla="*/ 696 h 696"/>
                <a:gd name="T64" fmla="*/ 1152 w 1602"/>
                <a:gd name="T65" fmla="*/ 0 h 6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2"/>
                <a:gd name="T100" fmla="*/ 0 h 696"/>
                <a:gd name="T101" fmla="*/ 1602 w 1602"/>
                <a:gd name="T102" fmla="*/ 696 h 6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2" h="696">
                  <a:moveTo>
                    <a:pt x="1152" y="0"/>
                  </a:moveTo>
                  <a:lnTo>
                    <a:pt x="1170" y="12"/>
                  </a:lnTo>
                  <a:lnTo>
                    <a:pt x="1188" y="18"/>
                  </a:lnTo>
                  <a:lnTo>
                    <a:pt x="1206" y="30"/>
                  </a:lnTo>
                  <a:lnTo>
                    <a:pt x="1224" y="36"/>
                  </a:lnTo>
                  <a:lnTo>
                    <a:pt x="1242" y="48"/>
                  </a:lnTo>
                  <a:lnTo>
                    <a:pt x="1260" y="54"/>
                  </a:lnTo>
                  <a:lnTo>
                    <a:pt x="1278" y="66"/>
                  </a:lnTo>
                  <a:lnTo>
                    <a:pt x="1296" y="72"/>
                  </a:lnTo>
                  <a:lnTo>
                    <a:pt x="1314" y="84"/>
                  </a:lnTo>
                  <a:lnTo>
                    <a:pt x="1326" y="96"/>
                  </a:lnTo>
                  <a:lnTo>
                    <a:pt x="1344" y="102"/>
                  </a:lnTo>
                  <a:lnTo>
                    <a:pt x="1356" y="114"/>
                  </a:lnTo>
                  <a:lnTo>
                    <a:pt x="1374" y="126"/>
                  </a:lnTo>
                  <a:lnTo>
                    <a:pt x="1386" y="132"/>
                  </a:lnTo>
                  <a:lnTo>
                    <a:pt x="1398" y="144"/>
                  </a:lnTo>
                  <a:lnTo>
                    <a:pt x="1416" y="156"/>
                  </a:lnTo>
                  <a:lnTo>
                    <a:pt x="1428" y="162"/>
                  </a:lnTo>
                  <a:lnTo>
                    <a:pt x="1440" y="174"/>
                  </a:lnTo>
                  <a:lnTo>
                    <a:pt x="1452" y="186"/>
                  </a:lnTo>
                  <a:lnTo>
                    <a:pt x="1464" y="198"/>
                  </a:lnTo>
                  <a:lnTo>
                    <a:pt x="1476" y="210"/>
                  </a:lnTo>
                  <a:lnTo>
                    <a:pt x="1482" y="216"/>
                  </a:lnTo>
                  <a:lnTo>
                    <a:pt x="1494" y="228"/>
                  </a:lnTo>
                  <a:lnTo>
                    <a:pt x="1506" y="240"/>
                  </a:lnTo>
                  <a:lnTo>
                    <a:pt x="1512" y="252"/>
                  </a:lnTo>
                  <a:lnTo>
                    <a:pt x="1524" y="264"/>
                  </a:lnTo>
                  <a:lnTo>
                    <a:pt x="1530" y="276"/>
                  </a:lnTo>
                  <a:lnTo>
                    <a:pt x="1536" y="288"/>
                  </a:lnTo>
                  <a:lnTo>
                    <a:pt x="1548" y="300"/>
                  </a:lnTo>
                  <a:lnTo>
                    <a:pt x="1554" y="306"/>
                  </a:lnTo>
                  <a:lnTo>
                    <a:pt x="1560" y="318"/>
                  </a:lnTo>
                  <a:lnTo>
                    <a:pt x="1566" y="330"/>
                  </a:lnTo>
                  <a:lnTo>
                    <a:pt x="1572" y="342"/>
                  </a:lnTo>
                  <a:lnTo>
                    <a:pt x="1578" y="354"/>
                  </a:lnTo>
                  <a:lnTo>
                    <a:pt x="1578" y="366"/>
                  </a:lnTo>
                  <a:lnTo>
                    <a:pt x="1584" y="378"/>
                  </a:lnTo>
                  <a:lnTo>
                    <a:pt x="1590" y="390"/>
                  </a:lnTo>
                  <a:lnTo>
                    <a:pt x="1590" y="402"/>
                  </a:lnTo>
                  <a:lnTo>
                    <a:pt x="1596" y="414"/>
                  </a:lnTo>
                  <a:lnTo>
                    <a:pt x="1596" y="426"/>
                  </a:lnTo>
                  <a:lnTo>
                    <a:pt x="1596" y="438"/>
                  </a:lnTo>
                  <a:lnTo>
                    <a:pt x="1602" y="450"/>
                  </a:lnTo>
                  <a:lnTo>
                    <a:pt x="1602" y="462"/>
                  </a:lnTo>
                  <a:lnTo>
                    <a:pt x="1602" y="474"/>
                  </a:lnTo>
                  <a:lnTo>
                    <a:pt x="1602" y="486"/>
                  </a:lnTo>
                  <a:lnTo>
                    <a:pt x="1602" y="498"/>
                  </a:lnTo>
                  <a:lnTo>
                    <a:pt x="1596" y="510"/>
                  </a:lnTo>
                  <a:lnTo>
                    <a:pt x="1596" y="522"/>
                  </a:lnTo>
                  <a:lnTo>
                    <a:pt x="1596" y="534"/>
                  </a:lnTo>
                  <a:lnTo>
                    <a:pt x="1590" y="546"/>
                  </a:lnTo>
                  <a:lnTo>
                    <a:pt x="1590" y="558"/>
                  </a:lnTo>
                  <a:lnTo>
                    <a:pt x="1584" y="564"/>
                  </a:lnTo>
                  <a:lnTo>
                    <a:pt x="1578" y="576"/>
                  </a:lnTo>
                  <a:lnTo>
                    <a:pt x="1578" y="588"/>
                  </a:lnTo>
                  <a:lnTo>
                    <a:pt x="1572" y="600"/>
                  </a:lnTo>
                  <a:lnTo>
                    <a:pt x="1566" y="612"/>
                  </a:lnTo>
                  <a:lnTo>
                    <a:pt x="1560" y="624"/>
                  </a:lnTo>
                  <a:lnTo>
                    <a:pt x="1554" y="636"/>
                  </a:lnTo>
                  <a:lnTo>
                    <a:pt x="1548" y="648"/>
                  </a:lnTo>
                  <a:lnTo>
                    <a:pt x="1536" y="660"/>
                  </a:lnTo>
                  <a:lnTo>
                    <a:pt x="1530" y="672"/>
                  </a:lnTo>
                  <a:lnTo>
                    <a:pt x="1524" y="684"/>
                  </a:lnTo>
                  <a:lnTo>
                    <a:pt x="1512" y="696"/>
                  </a:lnTo>
                  <a:lnTo>
                    <a:pt x="0" y="474"/>
                  </a:lnTo>
                  <a:lnTo>
                    <a:pt x="1152" y="0"/>
                  </a:lnTo>
                  <a:close/>
                </a:path>
              </a:pathLst>
            </a:custGeom>
            <a:solidFill>
              <a:srgbClr val="FFA2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3087707" y="2533584"/>
              <a:ext cx="2705168" cy="951646"/>
            </a:xfrm>
            <a:custGeom>
              <a:avLst/>
              <a:gdLst>
                <a:gd name="T0" fmla="*/ 3060 w 3108"/>
                <a:gd name="T1" fmla="*/ 276 h 1092"/>
                <a:gd name="T2" fmla="*/ 2982 w 3108"/>
                <a:gd name="T3" fmla="*/ 336 h 1092"/>
                <a:gd name="T4" fmla="*/ 2892 w 3108"/>
                <a:gd name="T5" fmla="*/ 396 h 1092"/>
                <a:gd name="T6" fmla="*/ 2784 w 3108"/>
                <a:gd name="T7" fmla="*/ 450 h 1092"/>
                <a:gd name="T8" fmla="*/ 2670 w 3108"/>
                <a:gd name="T9" fmla="*/ 504 h 1092"/>
                <a:gd name="T10" fmla="*/ 2538 w 3108"/>
                <a:gd name="T11" fmla="*/ 546 h 1092"/>
                <a:gd name="T12" fmla="*/ 2400 w 3108"/>
                <a:gd name="T13" fmla="*/ 588 h 1092"/>
                <a:gd name="T14" fmla="*/ 2250 w 3108"/>
                <a:gd name="T15" fmla="*/ 618 h 1092"/>
                <a:gd name="T16" fmla="*/ 2094 w 3108"/>
                <a:gd name="T17" fmla="*/ 642 h 1092"/>
                <a:gd name="T18" fmla="*/ 1932 w 3108"/>
                <a:gd name="T19" fmla="*/ 660 h 1092"/>
                <a:gd name="T20" fmla="*/ 1764 w 3108"/>
                <a:gd name="T21" fmla="*/ 672 h 1092"/>
                <a:gd name="T22" fmla="*/ 1596 w 3108"/>
                <a:gd name="T23" fmla="*/ 678 h 1092"/>
                <a:gd name="T24" fmla="*/ 1428 w 3108"/>
                <a:gd name="T25" fmla="*/ 672 h 1092"/>
                <a:gd name="T26" fmla="*/ 1290 w 3108"/>
                <a:gd name="T27" fmla="*/ 666 h 1092"/>
                <a:gd name="T28" fmla="*/ 1128 w 3108"/>
                <a:gd name="T29" fmla="*/ 648 h 1092"/>
                <a:gd name="T30" fmla="*/ 972 w 3108"/>
                <a:gd name="T31" fmla="*/ 624 h 1092"/>
                <a:gd name="T32" fmla="*/ 822 w 3108"/>
                <a:gd name="T33" fmla="*/ 594 h 1092"/>
                <a:gd name="T34" fmla="*/ 678 w 3108"/>
                <a:gd name="T35" fmla="*/ 552 h 1092"/>
                <a:gd name="T36" fmla="*/ 546 w 3108"/>
                <a:gd name="T37" fmla="*/ 510 h 1092"/>
                <a:gd name="T38" fmla="*/ 426 w 3108"/>
                <a:gd name="T39" fmla="*/ 462 h 1092"/>
                <a:gd name="T40" fmla="*/ 318 w 3108"/>
                <a:gd name="T41" fmla="*/ 408 h 1092"/>
                <a:gd name="T42" fmla="*/ 228 w 3108"/>
                <a:gd name="T43" fmla="*/ 348 h 1092"/>
                <a:gd name="T44" fmla="*/ 150 w 3108"/>
                <a:gd name="T45" fmla="*/ 288 h 1092"/>
                <a:gd name="T46" fmla="*/ 84 w 3108"/>
                <a:gd name="T47" fmla="*/ 222 h 1092"/>
                <a:gd name="T48" fmla="*/ 42 w 3108"/>
                <a:gd name="T49" fmla="*/ 150 h 1092"/>
                <a:gd name="T50" fmla="*/ 12 w 3108"/>
                <a:gd name="T51" fmla="*/ 84 h 1092"/>
                <a:gd name="T52" fmla="*/ 0 w 3108"/>
                <a:gd name="T53" fmla="*/ 12 h 1092"/>
                <a:gd name="T54" fmla="*/ 0 w 3108"/>
                <a:gd name="T55" fmla="*/ 462 h 1092"/>
                <a:gd name="T56" fmla="*/ 24 w 3108"/>
                <a:gd name="T57" fmla="*/ 528 h 1092"/>
                <a:gd name="T58" fmla="*/ 60 w 3108"/>
                <a:gd name="T59" fmla="*/ 600 h 1092"/>
                <a:gd name="T60" fmla="*/ 114 w 3108"/>
                <a:gd name="T61" fmla="*/ 666 h 1092"/>
                <a:gd name="T62" fmla="*/ 186 w 3108"/>
                <a:gd name="T63" fmla="*/ 732 h 1092"/>
                <a:gd name="T64" fmla="*/ 270 w 3108"/>
                <a:gd name="T65" fmla="*/ 792 h 1092"/>
                <a:gd name="T66" fmla="*/ 372 w 3108"/>
                <a:gd name="T67" fmla="*/ 846 h 1092"/>
                <a:gd name="T68" fmla="*/ 486 w 3108"/>
                <a:gd name="T69" fmla="*/ 900 h 1092"/>
                <a:gd name="T70" fmla="*/ 612 w 3108"/>
                <a:gd name="T71" fmla="*/ 948 h 1092"/>
                <a:gd name="T72" fmla="*/ 750 w 3108"/>
                <a:gd name="T73" fmla="*/ 990 h 1092"/>
                <a:gd name="T74" fmla="*/ 894 w 3108"/>
                <a:gd name="T75" fmla="*/ 1020 h 1092"/>
                <a:gd name="T76" fmla="*/ 1050 w 3108"/>
                <a:gd name="T77" fmla="*/ 1050 h 1092"/>
                <a:gd name="T78" fmla="*/ 1212 w 3108"/>
                <a:gd name="T79" fmla="*/ 1068 h 1092"/>
                <a:gd name="T80" fmla="*/ 1350 w 3108"/>
                <a:gd name="T81" fmla="*/ 1080 h 1092"/>
                <a:gd name="T82" fmla="*/ 1512 w 3108"/>
                <a:gd name="T83" fmla="*/ 1092 h 1092"/>
                <a:gd name="T84" fmla="*/ 1680 w 3108"/>
                <a:gd name="T85" fmla="*/ 1092 h 1092"/>
                <a:gd name="T86" fmla="*/ 1848 w 3108"/>
                <a:gd name="T87" fmla="*/ 1080 h 1092"/>
                <a:gd name="T88" fmla="*/ 2010 w 3108"/>
                <a:gd name="T89" fmla="*/ 1068 h 1092"/>
                <a:gd name="T90" fmla="*/ 2172 w 3108"/>
                <a:gd name="T91" fmla="*/ 1044 h 1092"/>
                <a:gd name="T92" fmla="*/ 2322 w 3108"/>
                <a:gd name="T93" fmla="*/ 1014 h 1092"/>
                <a:gd name="T94" fmla="*/ 2466 w 3108"/>
                <a:gd name="T95" fmla="*/ 984 h 1092"/>
                <a:gd name="T96" fmla="*/ 2604 w 3108"/>
                <a:gd name="T97" fmla="*/ 942 h 1092"/>
                <a:gd name="T98" fmla="*/ 2730 w 3108"/>
                <a:gd name="T99" fmla="*/ 894 h 1092"/>
                <a:gd name="T100" fmla="*/ 2838 w 3108"/>
                <a:gd name="T101" fmla="*/ 840 h 1092"/>
                <a:gd name="T102" fmla="*/ 2940 w 3108"/>
                <a:gd name="T103" fmla="*/ 780 h 1092"/>
                <a:gd name="T104" fmla="*/ 3024 w 3108"/>
                <a:gd name="T105" fmla="*/ 720 h 1092"/>
                <a:gd name="T106" fmla="*/ 3090 w 3108"/>
                <a:gd name="T107" fmla="*/ 654 h 109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108"/>
                <a:gd name="T163" fmla="*/ 0 h 1092"/>
                <a:gd name="T164" fmla="*/ 3108 w 3108"/>
                <a:gd name="T165" fmla="*/ 1092 h 109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108" h="1092">
                  <a:moveTo>
                    <a:pt x="3108" y="222"/>
                  </a:moveTo>
                  <a:lnTo>
                    <a:pt x="3102" y="228"/>
                  </a:lnTo>
                  <a:lnTo>
                    <a:pt x="3090" y="240"/>
                  </a:lnTo>
                  <a:lnTo>
                    <a:pt x="3078" y="252"/>
                  </a:lnTo>
                  <a:lnTo>
                    <a:pt x="3072" y="264"/>
                  </a:lnTo>
                  <a:lnTo>
                    <a:pt x="3060" y="276"/>
                  </a:lnTo>
                  <a:lnTo>
                    <a:pt x="3048" y="288"/>
                  </a:lnTo>
                  <a:lnTo>
                    <a:pt x="3036" y="294"/>
                  </a:lnTo>
                  <a:lnTo>
                    <a:pt x="3024" y="306"/>
                  </a:lnTo>
                  <a:lnTo>
                    <a:pt x="3012" y="318"/>
                  </a:lnTo>
                  <a:lnTo>
                    <a:pt x="2994" y="330"/>
                  </a:lnTo>
                  <a:lnTo>
                    <a:pt x="2982" y="336"/>
                  </a:lnTo>
                  <a:lnTo>
                    <a:pt x="2970" y="348"/>
                  </a:lnTo>
                  <a:lnTo>
                    <a:pt x="2952" y="360"/>
                  </a:lnTo>
                  <a:lnTo>
                    <a:pt x="2940" y="366"/>
                  </a:lnTo>
                  <a:lnTo>
                    <a:pt x="2922" y="378"/>
                  </a:lnTo>
                  <a:lnTo>
                    <a:pt x="2910" y="390"/>
                  </a:lnTo>
                  <a:lnTo>
                    <a:pt x="2892" y="396"/>
                  </a:lnTo>
                  <a:lnTo>
                    <a:pt x="2874" y="408"/>
                  </a:lnTo>
                  <a:lnTo>
                    <a:pt x="2856" y="414"/>
                  </a:lnTo>
                  <a:lnTo>
                    <a:pt x="2838" y="426"/>
                  </a:lnTo>
                  <a:lnTo>
                    <a:pt x="2820" y="432"/>
                  </a:lnTo>
                  <a:lnTo>
                    <a:pt x="2802" y="444"/>
                  </a:lnTo>
                  <a:lnTo>
                    <a:pt x="2784" y="450"/>
                  </a:lnTo>
                  <a:lnTo>
                    <a:pt x="2766" y="462"/>
                  </a:lnTo>
                  <a:lnTo>
                    <a:pt x="2748" y="468"/>
                  </a:lnTo>
                  <a:lnTo>
                    <a:pt x="2730" y="480"/>
                  </a:lnTo>
                  <a:lnTo>
                    <a:pt x="2706" y="486"/>
                  </a:lnTo>
                  <a:lnTo>
                    <a:pt x="2688" y="492"/>
                  </a:lnTo>
                  <a:lnTo>
                    <a:pt x="2670" y="504"/>
                  </a:lnTo>
                  <a:lnTo>
                    <a:pt x="2646" y="510"/>
                  </a:lnTo>
                  <a:lnTo>
                    <a:pt x="2628" y="516"/>
                  </a:lnTo>
                  <a:lnTo>
                    <a:pt x="2604" y="528"/>
                  </a:lnTo>
                  <a:lnTo>
                    <a:pt x="2580" y="534"/>
                  </a:lnTo>
                  <a:lnTo>
                    <a:pt x="2562" y="540"/>
                  </a:lnTo>
                  <a:lnTo>
                    <a:pt x="2538" y="546"/>
                  </a:lnTo>
                  <a:lnTo>
                    <a:pt x="2514" y="552"/>
                  </a:lnTo>
                  <a:lnTo>
                    <a:pt x="2490" y="558"/>
                  </a:lnTo>
                  <a:lnTo>
                    <a:pt x="2466" y="570"/>
                  </a:lnTo>
                  <a:lnTo>
                    <a:pt x="2442" y="576"/>
                  </a:lnTo>
                  <a:lnTo>
                    <a:pt x="2424" y="582"/>
                  </a:lnTo>
                  <a:lnTo>
                    <a:pt x="2400" y="588"/>
                  </a:lnTo>
                  <a:lnTo>
                    <a:pt x="2370" y="594"/>
                  </a:lnTo>
                  <a:lnTo>
                    <a:pt x="2346" y="600"/>
                  </a:lnTo>
                  <a:lnTo>
                    <a:pt x="2322" y="600"/>
                  </a:lnTo>
                  <a:lnTo>
                    <a:pt x="2298" y="606"/>
                  </a:lnTo>
                  <a:lnTo>
                    <a:pt x="2274" y="612"/>
                  </a:lnTo>
                  <a:lnTo>
                    <a:pt x="2250" y="618"/>
                  </a:lnTo>
                  <a:lnTo>
                    <a:pt x="2220" y="624"/>
                  </a:lnTo>
                  <a:lnTo>
                    <a:pt x="2196" y="630"/>
                  </a:lnTo>
                  <a:lnTo>
                    <a:pt x="2172" y="630"/>
                  </a:lnTo>
                  <a:lnTo>
                    <a:pt x="2142" y="636"/>
                  </a:lnTo>
                  <a:lnTo>
                    <a:pt x="2118" y="642"/>
                  </a:lnTo>
                  <a:lnTo>
                    <a:pt x="2094" y="642"/>
                  </a:lnTo>
                  <a:lnTo>
                    <a:pt x="2064" y="648"/>
                  </a:lnTo>
                  <a:lnTo>
                    <a:pt x="2040" y="648"/>
                  </a:lnTo>
                  <a:lnTo>
                    <a:pt x="2010" y="654"/>
                  </a:lnTo>
                  <a:lnTo>
                    <a:pt x="1986" y="654"/>
                  </a:lnTo>
                  <a:lnTo>
                    <a:pt x="1956" y="660"/>
                  </a:lnTo>
                  <a:lnTo>
                    <a:pt x="1932" y="660"/>
                  </a:lnTo>
                  <a:lnTo>
                    <a:pt x="1902" y="666"/>
                  </a:lnTo>
                  <a:lnTo>
                    <a:pt x="1878" y="666"/>
                  </a:lnTo>
                  <a:lnTo>
                    <a:pt x="1848" y="666"/>
                  </a:lnTo>
                  <a:lnTo>
                    <a:pt x="1818" y="672"/>
                  </a:lnTo>
                  <a:lnTo>
                    <a:pt x="1794" y="672"/>
                  </a:lnTo>
                  <a:lnTo>
                    <a:pt x="1764" y="672"/>
                  </a:lnTo>
                  <a:lnTo>
                    <a:pt x="1734" y="672"/>
                  </a:lnTo>
                  <a:lnTo>
                    <a:pt x="1710" y="672"/>
                  </a:lnTo>
                  <a:lnTo>
                    <a:pt x="1680" y="678"/>
                  </a:lnTo>
                  <a:lnTo>
                    <a:pt x="1656" y="678"/>
                  </a:lnTo>
                  <a:lnTo>
                    <a:pt x="1626" y="678"/>
                  </a:lnTo>
                  <a:lnTo>
                    <a:pt x="1596" y="678"/>
                  </a:lnTo>
                  <a:lnTo>
                    <a:pt x="1572" y="678"/>
                  </a:lnTo>
                  <a:lnTo>
                    <a:pt x="1542" y="678"/>
                  </a:lnTo>
                  <a:lnTo>
                    <a:pt x="1512" y="678"/>
                  </a:lnTo>
                  <a:lnTo>
                    <a:pt x="1488" y="672"/>
                  </a:lnTo>
                  <a:lnTo>
                    <a:pt x="1458" y="672"/>
                  </a:lnTo>
                  <a:lnTo>
                    <a:pt x="1428" y="672"/>
                  </a:lnTo>
                  <a:lnTo>
                    <a:pt x="1404" y="672"/>
                  </a:lnTo>
                  <a:lnTo>
                    <a:pt x="1374" y="672"/>
                  </a:lnTo>
                  <a:lnTo>
                    <a:pt x="1350" y="666"/>
                  </a:lnTo>
                  <a:lnTo>
                    <a:pt x="1320" y="666"/>
                  </a:lnTo>
                  <a:lnTo>
                    <a:pt x="1290" y="666"/>
                  </a:lnTo>
                  <a:lnTo>
                    <a:pt x="1266" y="660"/>
                  </a:lnTo>
                  <a:lnTo>
                    <a:pt x="1236" y="660"/>
                  </a:lnTo>
                  <a:lnTo>
                    <a:pt x="1212" y="654"/>
                  </a:lnTo>
                  <a:lnTo>
                    <a:pt x="1182" y="654"/>
                  </a:lnTo>
                  <a:lnTo>
                    <a:pt x="1158" y="648"/>
                  </a:lnTo>
                  <a:lnTo>
                    <a:pt x="1128" y="648"/>
                  </a:lnTo>
                  <a:lnTo>
                    <a:pt x="1104" y="642"/>
                  </a:lnTo>
                  <a:lnTo>
                    <a:pt x="1074" y="642"/>
                  </a:lnTo>
                  <a:lnTo>
                    <a:pt x="1050" y="636"/>
                  </a:lnTo>
                  <a:lnTo>
                    <a:pt x="1026" y="630"/>
                  </a:lnTo>
                  <a:lnTo>
                    <a:pt x="996" y="630"/>
                  </a:lnTo>
                  <a:lnTo>
                    <a:pt x="972" y="624"/>
                  </a:lnTo>
                  <a:lnTo>
                    <a:pt x="948" y="618"/>
                  </a:lnTo>
                  <a:lnTo>
                    <a:pt x="924" y="612"/>
                  </a:lnTo>
                  <a:lnTo>
                    <a:pt x="894" y="606"/>
                  </a:lnTo>
                  <a:lnTo>
                    <a:pt x="870" y="600"/>
                  </a:lnTo>
                  <a:lnTo>
                    <a:pt x="846" y="600"/>
                  </a:lnTo>
                  <a:lnTo>
                    <a:pt x="822" y="594"/>
                  </a:lnTo>
                  <a:lnTo>
                    <a:pt x="798" y="588"/>
                  </a:lnTo>
                  <a:lnTo>
                    <a:pt x="774" y="582"/>
                  </a:lnTo>
                  <a:lnTo>
                    <a:pt x="750" y="576"/>
                  </a:lnTo>
                  <a:lnTo>
                    <a:pt x="726" y="570"/>
                  </a:lnTo>
                  <a:lnTo>
                    <a:pt x="702" y="558"/>
                  </a:lnTo>
                  <a:lnTo>
                    <a:pt x="678" y="552"/>
                  </a:lnTo>
                  <a:lnTo>
                    <a:pt x="660" y="546"/>
                  </a:lnTo>
                  <a:lnTo>
                    <a:pt x="636" y="540"/>
                  </a:lnTo>
                  <a:lnTo>
                    <a:pt x="612" y="534"/>
                  </a:lnTo>
                  <a:lnTo>
                    <a:pt x="594" y="528"/>
                  </a:lnTo>
                  <a:lnTo>
                    <a:pt x="570" y="516"/>
                  </a:lnTo>
                  <a:lnTo>
                    <a:pt x="546" y="510"/>
                  </a:lnTo>
                  <a:lnTo>
                    <a:pt x="528" y="504"/>
                  </a:lnTo>
                  <a:lnTo>
                    <a:pt x="504" y="492"/>
                  </a:lnTo>
                  <a:lnTo>
                    <a:pt x="486" y="486"/>
                  </a:lnTo>
                  <a:lnTo>
                    <a:pt x="468" y="480"/>
                  </a:lnTo>
                  <a:lnTo>
                    <a:pt x="450" y="468"/>
                  </a:lnTo>
                  <a:lnTo>
                    <a:pt x="426" y="462"/>
                  </a:lnTo>
                  <a:lnTo>
                    <a:pt x="408" y="450"/>
                  </a:lnTo>
                  <a:lnTo>
                    <a:pt x="390" y="444"/>
                  </a:lnTo>
                  <a:lnTo>
                    <a:pt x="372" y="432"/>
                  </a:lnTo>
                  <a:lnTo>
                    <a:pt x="354" y="426"/>
                  </a:lnTo>
                  <a:lnTo>
                    <a:pt x="336" y="414"/>
                  </a:lnTo>
                  <a:lnTo>
                    <a:pt x="318" y="408"/>
                  </a:lnTo>
                  <a:lnTo>
                    <a:pt x="306" y="396"/>
                  </a:lnTo>
                  <a:lnTo>
                    <a:pt x="288" y="390"/>
                  </a:lnTo>
                  <a:lnTo>
                    <a:pt x="270" y="378"/>
                  </a:lnTo>
                  <a:lnTo>
                    <a:pt x="258" y="366"/>
                  </a:lnTo>
                  <a:lnTo>
                    <a:pt x="240" y="360"/>
                  </a:lnTo>
                  <a:lnTo>
                    <a:pt x="228" y="348"/>
                  </a:lnTo>
                  <a:lnTo>
                    <a:pt x="210" y="336"/>
                  </a:lnTo>
                  <a:lnTo>
                    <a:pt x="198" y="330"/>
                  </a:lnTo>
                  <a:lnTo>
                    <a:pt x="186" y="318"/>
                  </a:lnTo>
                  <a:lnTo>
                    <a:pt x="174" y="306"/>
                  </a:lnTo>
                  <a:lnTo>
                    <a:pt x="162" y="294"/>
                  </a:lnTo>
                  <a:lnTo>
                    <a:pt x="150" y="288"/>
                  </a:lnTo>
                  <a:lnTo>
                    <a:pt x="138" y="276"/>
                  </a:lnTo>
                  <a:lnTo>
                    <a:pt x="126" y="264"/>
                  </a:lnTo>
                  <a:lnTo>
                    <a:pt x="114" y="252"/>
                  </a:lnTo>
                  <a:lnTo>
                    <a:pt x="102" y="240"/>
                  </a:lnTo>
                  <a:lnTo>
                    <a:pt x="96" y="228"/>
                  </a:lnTo>
                  <a:lnTo>
                    <a:pt x="84" y="222"/>
                  </a:lnTo>
                  <a:lnTo>
                    <a:pt x="78" y="210"/>
                  </a:lnTo>
                  <a:lnTo>
                    <a:pt x="66" y="198"/>
                  </a:lnTo>
                  <a:lnTo>
                    <a:pt x="60" y="186"/>
                  </a:lnTo>
                  <a:lnTo>
                    <a:pt x="54" y="174"/>
                  </a:lnTo>
                  <a:lnTo>
                    <a:pt x="48" y="162"/>
                  </a:lnTo>
                  <a:lnTo>
                    <a:pt x="42" y="150"/>
                  </a:lnTo>
                  <a:lnTo>
                    <a:pt x="36" y="138"/>
                  </a:lnTo>
                  <a:lnTo>
                    <a:pt x="30" y="126"/>
                  </a:lnTo>
                  <a:lnTo>
                    <a:pt x="24" y="114"/>
                  </a:lnTo>
                  <a:lnTo>
                    <a:pt x="18" y="102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2"/>
                  </a:lnTo>
                  <a:lnTo>
                    <a:pt x="6" y="60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2"/>
                  </a:lnTo>
                  <a:lnTo>
                    <a:pt x="0" y="0"/>
                  </a:lnTo>
                  <a:lnTo>
                    <a:pt x="0" y="414"/>
                  </a:lnTo>
                  <a:lnTo>
                    <a:pt x="0" y="426"/>
                  </a:lnTo>
                  <a:lnTo>
                    <a:pt x="0" y="438"/>
                  </a:lnTo>
                  <a:lnTo>
                    <a:pt x="0" y="450"/>
                  </a:lnTo>
                  <a:lnTo>
                    <a:pt x="0" y="462"/>
                  </a:lnTo>
                  <a:lnTo>
                    <a:pt x="6" y="474"/>
                  </a:lnTo>
                  <a:lnTo>
                    <a:pt x="6" y="486"/>
                  </a:lnTo>
                  <a:lnTo>
                    <a:pt x="12" y="498"/>
                  </a:lnTo>
                  <a:lnTo>
                    <a:pt x="12" y="504"/>
                  </a:lnTo>
                  <a:lnTo>
                    <a:pt x="18" y="516"/>
                  </a:lnTo>
                  <a:lnTo>
                    <a:pt x="24" y="528"/>
                  </a:lnTo>
                  <a:lnTo>
                    <a:pt x="30" y="540"/>
                  </a:lnTo>
                  <a:lnTo>
                    <a:pt x="36" y="552"/>
                  </a:lnTo>
                  <a:lnTo>
                    <a:pt x="42" y="564"/>
                  </a:lnTo>
                  <a:lnTo>
                    <a:pt x="48" y="576"/>
                  </a:lnTo>
                  <a:lnTo>
                    <a:pt x="54" y="588"/>
                  </a:lnTo>
                  <a:lnTo>
                    <a:pt x="60" y="600"/>
                  </a:lnTo>
                  <a:lnTo>
                    <a:pt x="66" y="612"/>
                  </a:lnTo>
                  <a:lnTo>
                    <a:pt x="78" y="624"/>
                  </a:lnTo>
                  <a:lnTo>
                    <a:pt x="84" y="636"/>
                  </a:lnTo>
                  <a:lnTo>
                    <a:pt x="96" y="642"/>
                  </a:lnTo>
                  <a:lnTo>
                    <a:pt x="102" y="654"/>
                  </a:lnTo>
                  <a:lnTo>
                    <a:pt x="114" y="666"/>
                  </a:lnTo>
                  <a:lnTo>
                    <a:pt x="126" y="678"/>
                  </a:lnTo>
                  <a:lnTo>
                    <a:pt x="138" y="690"/>
                  </a:lnTo>
                  <a:lnTo>
                    <a:pt x="150" y="702"/>
                  </a:lnTo>
                  <a:lnTo>
                    <a:pt x="162" y="708"/>
                  </a:lnTo>
                  <a:lnTo>
                    <a:pt x="174" y="720"/>
                  </a:lnTo>
                  <a:lnTo>
                    <a:pt x="186" y="732"/>
                  </a:lnTo>
                  <a:lnTo>
                    <a:pt x="198" y="744"/>
                  </a:lnTo>
                  <a:lnTo>
                    <a:pt x="210" y="750"/>
                  </a:lnTo>
                  <a:lnTo>
                    <a:pt x="228" y="762"/>
                  </a:lnTo>
                  <a:lnTo>
                    <a:pt x="240" y="774"/>
                  </a:lnTo>
                  <a:lnTo>
                    <a:pt x="258" y="780"/>
                  </a:lnTo>
                  <a:lnTo>
                    <a:pt x="270" y="792"/>
                  </a:lnTo>
                  <a:lnTo>
                    <a:pt x="288" y="804"/>
                  </a:lnTo>
                  <a:lnTo>
                    <a:pt x="306" y="810"/>
                  </a:lnTo>
                  <a:lnTo>
                    <a:pt x="318" y="822"/>
                  </a:lnTo>
                  <a:lnTo>
                    <a:pt x="336" y="828"/>
                  </a:lnTo>
                  <a:lnTo>
                    <a:pt x="354" y="840"/>
                  </a:lnTo>
                  <a:lnTo>
                    <a:pt x="372" y="846"/>
                  </a:lnTo>
                  <a:lnTo>
                    <a:pt x="390" y="858"/>
                  </a:lnTo>
                  <a:lnTo>
                    <a:pt x="408" y="864"/>
                  </a:lnTo>
                  <a:lnTo>
                    <a:pt x="426" y="876"/>
                  </a:lnTo>
                  <a:lnTo>
                    <a:pt x="450" y="882"/>
                  </a:lnTo>
                  <a:lnTo>
                    <a:pt x="468" y="894"/>
                  </a:lnTo>
                  <a:lnTo>
                    <a:pt x="486" y="900"/>
                  </a:lnTo>
                  <a:lnTo>
                    <a:pt x="504" y="906"/>
                  </a:lnTo>
                  <a:lnTo>
                    <a:pt x="528" y="918"/>
                  </a:lnTo>
                  <a:lnTo>
                    <a:pt x="546" y="924"/>
                  </a:lnTo>
                  <a:lnTo>
                    <a:pt x="570" y="930"/>
                  </a:lnTo>
                  <a:lnTo>
                    <a:pt x="594" y="942"/>
                  </a:lnTo>
                  <a:lnTo>
                    <a:pt x="612" y="948"/>
                  </a:lnTo>
                  <a:lnTo>
                    <a:pt x="636" y="954"/>
                  </a:lnTo>
                  <a:lnTo>
                    <a:pt x="660" y="960"/>
                  </a:lnTo>
                  <a:lnTo>
                    <a:pt x="678" y="966"/>
                  </a:lnTo>
                  <a:lnTo>
                    <a:pt x="702" y="972"/>
                  </a:lnTo>
                  <a:lnTo>
                    <a:pt x="726" y="984"/>
                  </a:lnTo>
                  <a:lnTo>
                    <a:pt x="750" y="990"/>
                  </a:lnTo>
                  <a:lnTo>
                    <a:pt x="774" y="996"/>
                  </a:lnTo>
                  <a:lnTo>
                    <a:pt x="798" y="1002"/>
                  </a:lnTo>
                  <a:lnTo>
                    <a:pt x="822" y="1008"/>
                  </a:lnTo>
                  <a:lnTo>
                    <a:pt x="846" y="1014"/>
                  </a:lnTo>
                  <a:lnTo>
                    <a:pt x="870" y="1014"/>
                  </a:lnTo>
                  <a:lnTo>
                    <a:pt x="894" y="1020"/>
                  </a:lnTo>
                  <a:lnTo>
                    <a:pt x="924" y="1026"/>
                  </a:lnTo>
                  <a:lnTo>
                    <a:pt x="948" y="1032"/>
                  </a:lnTo>
                  <a:lnTo>
                    <a:pt x="972" y="1038"/>
                  </a:lnTo>
                  <a:lnTo>
                    <a:pt x="996" y="1044"/>
                  </a:lnTo>
                  <a:lnTo>
                    <a:pt x="1026" y="1044"/>
                  </a:lnTo>
                  <a:lnTo>
                    <a:pt x="1050" y="1050"/>
                  </a:lnTo>
                  <a:lnTo>
                    <a:pt x="1074" y="1056"/>
                  </a:lnTo>
                  <a:lnTo>
                    <a:pt x="1104" y="1056"/>
                  </a:lnTo>
                  <a:lnTo>
                    <a:pt x="1128" y="1062"/>
                  </a:lnTo>
                  <a:lnTo>
                    <a:pt x="1158" y="1062"/>
                  </a:lnTo>
                  <a:lnTo>
                    <a:pt x="1182" y="1068"/>
                  </a:lnTo>
                  <a:lnTo>
                    <a:pt x="1212" y="1068"/>
                  </a:lnTo>
                  <a:lnTo>
                    <a:pt x="1236" y="1074"/>
                  </a:lnTo>
                  <a:lnTo>
                    <a:pt x="1266" y="1074"/>
                  </a:lnTo>
                  <a:lnTo>
                    <a:pt x="1290" y="1080"/>
                  </a:lnTo>
                  <a:lnTo>
                    <a:pt x="1320" y="1080"/>
                  </a:lnTo>
                  <a:lnTo>
                    <a:pt x="1350" y="1080"/>
                  </a:lnTo>
                  <a:lnTo>
                    <a:pt x="1374" y="1086"/>
                  </a:lnTo>
                  <a:lnTo>
                    <a:pt x="1404" y="1086"/>
                  </a:lnTo>
                  <a:lnTo>
                    <a:pt x="1428" y="1086"/>
                  </a:lnTo>
                  <a:lnTo>
                    <a:pt x="1458" y="1086"/>
                  </a:lnTo>
                  <a:lnTo>
                    <a:pt x="1488" y="1086"/>
                  </a:lnTo>
                  <a:lnTo>
                    <a:pt x="1512" y="1092"/>
                  </a:lnTo>
                  <a:lnTo>
                    <a:pt x="1542" y="1092"/>
                  </a:lnTo>
                  <a:lnTo>
                    <a:pt x="1572" y="1092"/>
                  </a:lnTo>
                  <a:lnTo>
                    <a:pt x="1596" y="1092"/>
                  </a:lnTo>
                  <a:lnTo>
                    <a:pt x="1626" y="1092"/>
                  </a:lnTo>
                  <a:lnTo>
                    <a:pt x="1656" y="1092"/>
                  </a:lnTo>
                  <a:lnTo>
                    <a:pt x="1680" y="1092"/>
                  </a:lnTo>
                  <a:lnTo>
                    <a:pt x="1710" y="1086"/>
                  </a:lnTo>
                  <a:lnTo>
                    <a:pt x="1734" y="1086"/>
                  </a:lnTo>
                  <a:lnTo>
                    <a:pt x="1764" y="1086"/>
                  </a:lnTo>
                  <a:lnTo>
                    <a:pt x="1794" y="1086"/>
                  </a:lnTo>
                  <a:lnTo>
                    <a:pt x="1818" y="1086"/>
                  </a:lnTo>
                  <a:lnTo>
                    <a:pt x="1848" y="1080"/>
                  </a:lnTo>
                  <a:lnTo>
                    <a:pt x="1878" y="1080"/>
                  </a:lnTo>
                  <a:lnTo>
                    <a:pt x="1902" y="1080"/>
                  </a:lnTo>
                  <a:lnTo>
                    <a:pt x="1932" y="1074"/>
                  </a:lnTo>
                  <a:lnTo>
                    <a:pt x="1956" y="1074"/>
                  </a:lnTo>
                  <a:lnTo>
                    <a:pt x="1986" y="1068"/>
                  </a:lnTo>
                  <a:lnTo>
                    <a:pt x="2010" y="1068"/>
                  </a:lnTo>
                  <a:lnTo>
                    <a:pt x="2040" y="1062"/>
                  </a:lnTo>
                  <a:lnTo>
                    <a:pt x="2064" y="1062"/>
                  </a:lnTo>
                  <a:lnTo>
                    <a:pt x="2094" y="1056"/>
                  </a:lnTo>
                  <a:lnTo>
                    <a:pt x="2118" y="1056"/>
                  </a:lnTo>
                  <a:lnTo>
                    <a:pt x="2142" y="1050"/>
                  </a:lnTo>
                  <a:lnTo>
                    <a:pt x="2172" y="1044"/>
                  </a:lnTo>
                  <a:lnTo>
                    <a:pt x="2196" y="1044"/>
                  </a:lnTo>
                  <a:lnTo>
                    <a:pt x="2220" y="1038"/>
                  </a:lnTo>
                  <a:lnTo>
                    <a:pt x="2250" y="1032"/>
                  </a:lnTo>
                  <a:lnTo>
                    <a:pt x="2274" y="1026"/>
                  </a:lnTo>
                  <a:lnTo>
                    <a:pt x="2298" y="1020"/>
                  </a:lnTo>
                  <a:lnTo>
                    <a:pt x="2322" y="1014"/>
                  </a:lnTo>
                  <a:lnTo>
                    <a:pt x="2346" y="1014"/>
                  </a:lnTo>
                  <a:lnTo>
                    <a:pt x="2370" y="1008"/>
                  </a:lnTo>
                  <a:lnTo>
                    <a:pt x="2400" y="1002"/>
                  </a:lnTo>
                  <a:lnTo>
                    <a:pt x="2424" y="996"/>
                  </a:lnTo>
                  <a:lnTo>
                    <a:pt x="2442" y="990"/>
                  </a:lnTo>
                  <a:lnTo>
                    <a:pt x="2466" y="984"/>
                  </a:lnTo>
                  <a:lnTo>
                    <a:pt x="2490" y="972"/>
                  </a:lnTo>
                  <a:lnTo>
                    <a:pt x="2514" y="966"/>
                  </a:lnTo>
                  <a:lnTo>
                    <a:pt x="2538" y="960"/>
                  </a:lnTo>
                  <a:lnTo>
                    <a:pt x="2562" y="954"/>
                  </a:lnTo>
                  <a:lnTo>
                    <a:pt x="2580" y="948"/>
                  </a:lnTo>
                  <a:lnTo>
                    <a:pt x="2604" y="942"/>
                  </a:lnTo>
                  <a:lnTo>
                    <a:pt x="2628" y="930"/>
                  </a:lnTo>
                  <a:lnTo>
                    <a:pt x="2646" y="924"/>
                  </a:lnTo>
                  <a:lnTo>
                    <a:pt x="2670" y="918"/>
                  </a:lnTo>
                  <a:lnTo>
                    <a:pt x="2688" y="906"/>
                  </a:lnTo>
                  <a:lnTo>
                    <a:pt x="2706" y="900"/>
                  </a:lnTo>
                  <a:lnTo>
                    <a:pt x="2730" y="894"/>
                  </a:lnTo>
                  <a:lnTo>
                    <a:pt x="2748" y="882"/>
                  </a:lnTo>
                  <a:lnTo>
                    <a:pt x="2766" y="876"/>
                  </a:lnTo>
                  <a:lnTo>
                    <a:pt x="2784" y="864"/>
                  </a:lnTo>
                  <a:lnTo>
                    <a:pt x="2802" y="858"/>
                  </a:lnTo>
                  <a:lnTo>
                    <a:pt x="2820" y="846"/>
                  </a:lnTo>
                  <a:lnTo>
                    <a:pt x="2838" y="840"/>
                  </a:lnTo>
                  <a:lnTo>
                    <a:pt x="2856" y="828"/>
                  </a:lnTo>
                  <a:lnTo>
                    <a:pt x="2874" y="822"/>
                  </a:lnTo>
                  <a:lnTo>
                    <a:pt x="2892" y="810"/>
                  </a:lnTo>
                  <a:lnTo>
                    <a:pt x="2910" y="804"/>
                  </a:lnTo>
                  <a:lnTo>
                    <a:pt x="2922" y="792"/>
                  </a:lnTo>
                  <a:lnTo>
                    <a:pt x="2940" y="780"/>
                  </a:lnTo>
                  <a:lnTo>
                    <a:pt x="2952" y="774"/>
                  </a:lnTo>
                  <a:lnTo>
                    <a:pt x="2970" y="762"/>
                  </a:lnTo>
                  <a:lnTo>
                    <a:pt x="2982" y="750"/>
                  </a:lnTo>
                  <a:lnTo>
                    <a:pt x="2994" y="744"/>
                  </a:lnTo>
                  <a:lnTo>
                    <a:pt x="3012" y="732"/>
                  </a:lnTo>
                  <a:lnTo>
                    <a:pt x="3024" y="720"/>
                  </a:lnTo>
                  <a:lnTo>
                    <a:pt x="3036" y="708"/>
                  </a:lnTo>
                  <a:lnTo>
                    <a:pt x="3048" y="702"/>
                  </a:lnTo>
                  <a:lnTo>
                    <a:pt x="3060" y="690"/>
                  </a:lnTo>
                  <a:lnTo>
                    <a:pt x="3072" y="678"/>
                  </a:lnTo>
                  <a:lnTo>
                    <a:pt x="3078" y="666"/>
                  </a:lnTo>
                  <a:lnTo>
                    <a:pt x="3090" y="654"/>
                  </a:lnTo>
                  <a:lnTo>
                    <a:pt x="3102" y="642"/>
                  </a:lnTo>
                  <a:lnTo>
                    <a:pt x="3108" y="636"/>
                  </a:lnTo>
                  <a:lnTo>
                    <a:pt x="3108" y="222"/>
                  </a:lnTo>
                  <a:close/>
                </a:path>
              </a:pathLst>
            </a:cu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3067827" y="2153191"/>
              <a:ext cx="2705167" cy="1003337"/>
            </a:xfrm>
            <a:custGeom>
              <a:avLst/>
              <a:gdLst>
                <a:gd name="T0" fmla="*/ 3078 w 3108"/>
                <a:gd name="T1" fmla="*/ 726 h 1152"/>
                <a:gd name="T2" fmla="*/ 3036 w 3108"/>
                <a:gd name="T3" fmla="*/ 768 h 1152"/>
                <a:gd name="T4" fmla="*/ 2982 w 3108"/>
                <a:gd name="T5" fmla="*/ 810 h 1152"/>
                <a:gd name="T6" fmla="*/ 2922 w 3108"/>
                <a:gd name="T7" fmla="*/ 852 h 1152"/>
                <a:gd name="T8" fmla="*/ 2856 w 3108"/>
                <a:gd name="T9" fmla="*/ 888 h 1152"/>
                <a:gd name="T10" fmla="*/ 2784 w 3108"/>
                <a:gd name="T11" fmla="*/ 924 h 1152"/>
                <a:gd name="T12" fmla="*/ 2706 w 3108"/>
                <a:gd name="T13" fmla="*/ 960 h 1152"/>
                <a:gd name="T14" fmla="*/ 2628 w 3108"/>
                <a:gd name="T15" fmla="*/ 990 h 1152"/>
                <a:gd name="T16" fmla="*/ 2538 w 3108"/>
                <a:gd name="T17" fmla="*/ 1020 h 1152"/>
                <a:gd name="T18" fmla="*/ 2442 w 3108"/>
                <a:gd name="T19" fmla="*/ 1050 h 1152"/>
                <a:gd name="T20" fmla="*/ 2346 w 3108"/>
                <a:gd name="T21" fmla="*/ 1074 h 1152"/>
                <a:gd name="T22" fmla="*/ 2250 w 3108"/>
                <a:gd name="T23" fmla="*/ 1092 h 1152"/>
                <a:gd name="T24" fmla="*/ 2142 w 3108"/>
                <a:gd name="T25" fmla="*/ 1110 h 1152"/>
                <a:gd name="T26" fmla="*/ 2064 w 3108"/>
                <a:gd name="T27" fmla="*/ 1122 h 1152"/>
                <a:gd name="T28" fmla="*/ 1956 w 3108"/>
                <a:gd name="T29" fmla="*/ 1134 h 1152"/>
                <a:gd name="T30" fmla="*/ 1848 w 3108"/>
                <a:gd name="T31" fmla="*/ 1140 h 1152"/>
                <a:gd name="T32" fmla="*/ 1734 w 3108"/>
                <a:gd name="T33" fmla="*/ 1146 h 1152"/>
                <a:gd name="T34" fmla="*/ 1626 w 3108"/>
                <a:gd name="T35" fmla="*/ 1152 h 1152"/>
                <a:gd name="T36" fmla="*/ 1512 w 3108"/>
                <a:gd name="T37" fmla="*/ 1152 h 1152"/>
                <a:gd name="T38" fmla="*/ 1404 w 3108"/>
                <a:gd name="T39" fmla="*/ 1146 h 1152"/>
                <a:gd name="T40" fmla="*/ 1290 w 3108"/>
                <a:gd name="T41" fmla="*/ 1140 h 1152"/>
                <a:gd name="T42" fmla="*/ 1182 w 3108"/>
                <a:gd name="T43" fmla="*/ 1128 h 1152"/>
                <a:gd name="T44" fmla="*/ 1074 w 3108"/>
                <a:gd name="T45" fmla="*/ 1116 h 1152"/>
                <a:gd name="T46" fmla="*/ 972 w 3108"/>
                <a:gd name="T47" fmla="*/ 1098 h 1152"/>
                <a:gd name="T48" fmla="*/ 870 w 3108"/>
                <a:gd name="T49" fmla="*/ 1074 h 1152"/>
                <a:gd name="T50" fmla="*/ 774 w 3108"/>
                <a:gd name="T51" fmla="*/ 1056 h 1152"/>
                <a:gd name="T52" fmla="*/ 678 w 3108"/>
                <a:gd name="T53" fmla="*/ 1026 h 1152"/>
                <a:gd name="T54" fmla="*/ 594 w 3108"/>
                <a:gd name="T55" fmla="*/ 1002 h 1152"/>
                <a:gd name="T56" fmla="*/ 504 w 3108"/>
                <a:gd name="T57" fmla="*/ 966 h 1152"/>
                <a:gd name="T58" fmla="*/ 426 w 3108"/>
                <a:gd name="T59" fmla="*/ 936 h 1152"/>
                <a:gd name="T60" fmla="*/ 354 w 3108"/>
                <a:gd name="T61" fmla="*/ 900 h 1152"/>
                <a:gd name="T62" fmla="*/ 288 w 3108"/>
                <a:gd name="T63" fmla="*/ 864 h 1152"/>
                <a:gd name="T64" fmla="*/ 228 w 3108"/>
                <a:gd name="T65" fmla="*/ 822 h 1152"/>
                <a:gd name="T66" fmla="*/ 174 w 3108"/>
                <a:gd name="T67" fmla="*/ 780 h 1152"/>
                <a:gd name="T68" fmla="*/ 126 w 3108"/>
                <a:gd name="T69" fmla="*/ 738 h 1152"/>
                <a:gd name="T70" fmla="*/ 84 w 3108"/>
                <a:gd name="T71" fmla="*/ 696 h 1152"/>
                <a:gd name="T72" fmla="*/ 54 w 3108"/>
                <a:gd name="T73" fmla="*/ 648 h 1152"/>
                <a:gd name="T74" fmla="*/ 30 w 3108"/>
                <a:gd name="T75" fmla="*/ 600 h 1152"/>
                <a:gd name="T76" fmla="*/ 12 w 3108"/>
                <a:gd name="T77" fmla="*/ 558 h 1152"/>
                <a:gd name="T78" fmla="*/ 0 w 3108"/>
                <a:gd name="T79" fmla="*/ 522 h 1152"/>
                <a:gd name="T80" fmla="*/ 0 w 3108"/>
                <a:gd name="T81" fmla="*/ 474 h 1152"/>
                <a:gd name="T82" fmla="*/ 0 w 3108"/>
                <a:gd name="T83" fmla="*/ 426 h 1152"/>
                <a:gd name="T84" fmla="*/ 12 w 3108"/>
                <a:gd name="T85" fmla="*/ 378 h 1152"/>
                <a:gd name="T86" fmla="*/ 36 w 3108"/>
                <a:gd name="T87" fmla="*/ 330 h 1152"/>
                <a:gd name="T88" fmla="*/ 60 w 3108"/>
                <a:gd name="T89" fmla="*/ 288 h 1152"/>
                <a:gd name="T90" fmla="*/ 96 w 3108"/>
                <a:gd name="T91" fmla="*/ 240 h 1152"/>
                <a:gd name="T92" fmla="*/ 138 w 3108"/>
                <a:gd name="T93" fmla="*/ 198 h 1152"/>
                <a:gd name="T94" fmla="*/ 186 w 3108"/>
                <a:gd name="T95" fmla="*/ 156 h 1152"/>
                <a:gd name="T96" fmla="*/ 240 w 3108"/>
                <a:gd name="T97" fmla="*/ 114 h 1152"/>
                <a:gd name="T98" fmla="*/ 306 w 3108"/>
                <a:gd name="T99" fmla="*/ 72 h 1152"/>
                <a:gd name="T100" fmla="*/ 372 w 3108"/>
                <a:gd name="T101" fmla="*/ 36 h 1152"/>
                <a:gd name="T102" fmla="*/ 450 w 3108"/>
                <a:gd name="T103" fmla="*/ 0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108"/>
                <a:gd name="T157" fmla="*/ 0 h 1152"/>
                <a:gd name="T158" fmla="*/ 3108 w 3108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108" h="1152">
                  <a:moveTo>
                    <a:pt x="3108" y="696"/>
                  </a:moveTo>
                  <a:lnTo>
                    <a:pt x="3102" y="702"/>
                  </a:lnTo>
                  <a:lnTo>
                    <a:pt x="3090" y="714"/>
                  </a:lnTo>
                  <a:lnTo>
                    <a:pt x="3078" y="726"/>
                  </a:lnTo>
                  <a:lnTo>
                    <a:pt x="3072" y="738"/>
                  </a:lnTo>
                  <a:lnTo>
                    <a:pt x="3060" y="750"/>
                  </a:lnTo>
                  <a:lnTo>
                    <a:pt x="3048" y="762"/>
                  </a:lnTo>
                  <a:lnTo>
                    <a:pt x="3036" y="768"/>
                  </a:lnTo>
                  <a:lnTo>
                    <a:pt x="3024" y="780"/>
                  </a:lnTo>
                  <a:lnTo>
                    <a:pt x="3012" y="792"/>
                  </a:lnTo>
                  <a:lnTo>
                    <a:pt x="2994" y="804"/>
                  </a:lnTo>
                  <a:lnTo>
                    <a:pt x="2982" y="810"/>
                  </a:lnTo>
                  <a:lnTo>
                    <a:pt x="2970" y="822"/>
                  </a:lnTo>
                  <a:lnTo>
                    <a:pt x="2952" y="834"/>
                  </a:lnTo>
                  <a:lnTo>
                    <a:pt x="2940" y="840"/>
                  </a:lnTo>
                  <a:lnTo>
                    <a:pt x="2922" y="852"/>
                  </a:lnTo>
                  <a:lnTo>
                    <a:pt x="2910" y="864"/>
                  </a:lnTo>
                  <a:lnTo>
                    <a:pt x="2892" y="870"/>
                  </a:lnTo>
                  <a:lnTo>
                    <a:pt x="2874" y="882"/>
                  </a:lnTo>
                  <a:lnTo>
                    <a:pt x="2856" y="888"/>
                  </a:lnTo>
                  <a:lnTo>
                    <a:pt x="2838" y="900"/>
                  </a:lnTo>
                  <a:lnTo>
                    <a:pt x="2820" y="906"/>
                  </a:lnTo>
                  <a:lnTo>
                    <a:pt x="2802" y="918"/>
                  </a:lnTo>
                  <a:lnTo>
                    <a:pt x="2784" y="924"/>
                  </a:lnTo>
                  <a:lnTo>
                    <a:pt x="2766" y="936"/>
                  </a:lnTo>
                  <a:lnTo>
                    <a:pt x="2748" y="942"/>
                  </a:lnTo>
                  <a:lnTo>
                    <a:pt x="2730" y="954"/>
                  </a:lnTo>
                  <a:lnTo>
                    <a:pt x="2706" y="960"/>
                  </a:lnTo>
                  <a:lnTo>
                    <a:pt x="2688" y="966"/>
                  </a:lnTo>
                  <a:lnTo>
                    <a:pt x="2670" y="978"/>
                  </a:lnTo>
                  <a:lnTo>
                    <a:pt x="2646" y="984"/>
                  </a:lnTo>
                  <a:lnTo>
                    <a:pt x="2628" y="990"/>
                  </a:lnTo>
                  <a:lnTo>
                    <a:pt x="2604" y="1002"/>
                  </a:lnTo>
                  <a:lnTo>
                    <a:pt x="2580" y="1008"/>
                  </a:lnTo>
                  <a:lnTo>
                    <a:pt x="2562" y="1014"/>
                  </a:lnTo>
                  <a:lnTo>
                    <a:pt x="2538" y="1020"/>
                  </a:lnTo>
                  <a:lnTo>
                    <a:pt x="2514" y="1026"/>
                  </a:lnTo>
                  <a:lnTo>
                    <a:pt x="2490" y="1032"/>
                  </a:lnTo>
                  <a:lnTo>
                    <a:pt x="2466" y="1044"/>
                  </a:lnTo>
                  <a:lnTo>
                    <a:pt x="2442" y="1050"/>
                  </a:lnTo>
                  <a:lnTo>
                    <a:pt x="2424" y="1056"/>
                  </a:lnTo>
                  <a:lnTo>
                    <a:pt x="2400" y="1062"/>
                  </a:lnTo>
                  <a:lnTo>
                    <a:pt x="2370" y="1068"/>
                  </a:lnTo>
                  <a:lnTo>
                    <a:pt x="2346" y="1074"/>
                  </a:lnTo>
                  <a:lnTo>
                    <a:pt x="2322" y="1074"/>
                  </a:lnTo>
                  <a:lnTo>
                    <a:pt x="2298" y="1080"/>
                  </a:lnTo>
                  <a:lnTo>
                    <a:pt x="2274" y="1086"/>
                  </a:lnTo>
                  <a:lnTo>
                    <a:pt x="2250" y="1092"/>
                  </a:lnTo>
                  <a:lnTo>
                    <a:pt x="2220" y="1098"/>
                  </a:lnTo>
                  <a:lnTo>
                    <a:pt x="2196" y="1104"/>
                  </a:lnTo>
                  <a:lnTo>
                    <a:pt x="2172" y="1104"/>
                  </a:lnTo>
                  <a:lnTo>
                    <a:pt x="2142" y="1110"/>
                  </a:lnTo>
                  <a:lnTo>
                    <a:pt x="2118" y="1116"/>
                  </a:lnTo>
                  <a:lnTo>
                    <a:pt x="2094" y="1116"/>
                  </a:lnTo>
                  <a:lnTo>
                    <a:pt x="2064" y="1122"/>
                  </a:lnTo>
                  <a:lnTo>
                    <a:pt x="2040" y="1122"/>
                  </a:lnTo>
                  <a:lnTo>
                    <a:pt x="2010" y="1128"/>
                  </a:lnTo>
                  <a:lnTo>
                    <a:pt x="1986" y="1128"/>
                  </a:lnTo>
                  <a:lnTo>
                    <a:pt x="1956" y="1134"/>
                  </a:lnTo>
                  <a:lnTo>
                    <a:pt x="1932" y="1134"/>
                  </a:lnTo>
                  <a:lnTo>
                    <a:pt x="1902" y="1140"/>
                  </a:lnTo>
                  <a:lnTo>
                    <a:pt x="1878" y="1140"/>
                  </a:lnTo>
                  <a:lnTo>
                    <a:pt x="1848" y="1140"/>
                  </a:lnTo>
                  <a:lnTo>
                    <a:pt x="1818" y="1146"/>
                  </a:lnTo>
                  <a:lnTo>
                    <a:pt x="1794" y="1146"/>
                  </a:lnTo>
                  <a:lnTo>
                    <a:pt x="1764" y="1146"/>
                  </a:lnTo>
                  <a:lnTo>
                    <a:pt x="1734" y="1146"/>
                  </a:lnTo>
                  <a:lnTo>
                    <a:pt x="1710" y="1146"/>
                  </a:lnTo>
                  <a:lnTo>
                    <a:pt x="1680" y="1152"/>
                  </a:lnTo>
                  <a:lnTo>
                    <a:pt x="1656" y="1152"/>
                  </a:lnTo>
                  <a:lnTo>
                    <a:pt x="1626" y="1152"/>
                  </a:lnTo>
                  <a:lnTo>
                    <a:pt x="1596" y="1152"/>
                  </a:lnTo>
                  <a:lnTo>
                    <a:pt x="1572" y="1152"/>
                  </a:lnTo>
                  <a:lnTo>
                    <a:pt x="1542" y="1152"/>
                  </a:lnTo>
                  <a:lnTo>
                    <a:pt x="1512" y="1152"/>
                  </a:lnTo>
                  <a:lnTo>
                    <a:pt x="1488" y="1146"/>
                  </a:lnTo>
                  <a:lnTo>
                    <a:pt x="1458" y="1146"/>
                  </a:lnTo>
                  <a:lnTo>
                    <a:pt x="1428" y="1146"/>
                  </a:lnTo>
                  <a:lnTo>
                    <a:pt x="1404" y="1146"/>
                  </a:lnTo>
                  <a:lnTo>
                    <a:pt x="1374" y="1146"/>
                  </a:lnTo>
                  <a:lnTo>
                    <a:pt x="1350" y="1140"/>
                  </a:lnTo>
                  <a:lnTo>
                    <a:pt x="1320" y="1140"/>
                  </a:lnTo>
                  <a:lnTo>
                    <a:pt x="1290" y="1140"/>
                  </a:lnTo>
                  <a:lnTo>
                    <a:pt x="1266" y="1134"/>
                  </a:lnTo>
                  <a:lnTo>
                    <a:pt x="1236" y="1134"/>
                  </a:lnTo>
                  <a:lnTo>
                    <a:pt x="1212" y="1128"/>
                  </a:lnTo>
                  <a:lnTo>
                    <a:pt x="1182" y="1128"/>
                  </a:lnTo>
                  <a:lnTo>
                    <a:pt x="1158" y="1122"/>
                  </a:lnTo>
                  <a:lnTo>
                    <a:pt x="1128" y="1122"/>
                  </a:lnTo>
                  <a:lnTo>
                    <a:pt x="1104" y="1116"/>
                  </a:lnTo>
                  <a:lnTo>
                    <a:pt x="1074" y="1116"/>
                  </a:lnTo>
                  <a:lnTo>
                    <a:pt x="1050" y="1110"/>
                  </a:lnTo>
                  <a:lnTo>
                    <a:pt x="1026" y="1104"/>
                  </a:lnTo>
                  <a:lnTo>
                    <a:pt x="996" y="1104"/>
                  </a:lnTo>
                  <a:lnTo>
                    <a:pt x="972" y="1098"/>
                  </a:lnTo>
                  <a:lnTo>
                    <a:pt x="948" y="1092"/>
                  </a:lnTo>
                  <a:lnTo>
                    <a:pt x="924" y="1086"/>
                  </a:lnTo>
                  <a:lnTo>
                    <a:pt x="894" y="1080"/>
                  </a:lnTo>
                  <a:lnTo>
                    <a:pt x="870" y="1074"/>
                  </a:lnTo>
                  <a:lnTo>
                    <a:pt x="846" y="1074"/>
                  </a:lnTo>
                  <a:lnTo>
                    <a:pt x="822" y="1068"/>
                  </a:lnTo>
                  <a:lnTo>
                    <a:pt x="798" y="1062"/>
                  </a:lnTo>
                  <a:lnTo>
                    <a:pt x="774" y="1056"/>
                  </a:lnTo>
                  <a:lnTo>
                    <a:pt x="750" y="1050"/>
                  </a:lnTo>
                  <a:lnTo>
                    <a:pt x="726" y="1044"/>
                  </a:lnTo>
                  <a:lnTo>
                    <a:pt x="702" y="1032"/>
                  </a:lnTo>
                  <a:lnTo>
                    <a:pt x="678" y="1026"/>
                  </a:lnTo>
                  <a:lnTo>
                    <a:pt x="660" y="1020"/>
                  </a:lnTo>
                  <a:lnTo>
                    <a:pt x="636" y="1014"/>
                  </a:lnTo>
                  <a:lnTo>
                    <a:pt x="612" y="1008"/>
                  </a:lnTo>
                  <a:lnTo>
                    <a:pt x="594" y="1002"/>
                  </a:lnTo>
                  <a:lnTo>
                    <a:pt x="570" y="990"/>
                  </a:lnTo>
                  <a:lnTo>
                    <a:pt x="546" y="984"/>
                  </a:lnTo>
                  <a:lnTo>
                    <a:pt x="528" y="978"/>
                  </a:lnTo>
                  <a:lnTo>
                    <a:pt x="504" y="966"/>
                  </a:lnTo>
                  <a:lnTo>
                    <a:pt x="486" y="960"/>
                  </a:lnTo>
                  <a:lnTo>
                    <a:pt x="468" y="954"/>
                  </a:lnTo>
                  <a:lnTo>
                    <a:pt x="450" y="942"/>
                  </a:lnTo>
                  <a:lnTo>
                    <a:pt x="426" y="936"/>
                  </a:lnTo>
                  <a:lnTo>
                    <a:pt x="408" y="924"/>
                  </a:lnTo>
                  <a:lnTo>
                    <a:pt x="390" y="918"/>
                  </a:lnTo>
                  <a:lnTo>
                    <a:pt x="372" y="906"/>
                  </a:lnTo>
                  <a:lnTo>
                    <a:pt x="354" y="900"/>
                  </a:lnTo>
                  <a:lnTo>
                    <a:pt x="336" y="888"/>
                  </a:lnTo>
                  <a:lnTo>
                    <a:pt x="318" y="882"/>
                  </a:lnTo>
                  <a:lnTo>
                    <a:pt x="306" y="870"/>
                  </a:lnTo>
                  <a:lnTo>
                    <a:pt x="288" y="864"/>
                  </a:lnTo>
                  <a:lnTo>
                    <a:pt x="270" y="852"/>
                  </a:lnTo>
                  <a:lnTo>
                    <a:pt x="258" y="840"/>
                  </a:lnTo>
                  <a:lnTo>
                    <a:pt x="240" y="834"/>
                  </a:lnTo>
                  <a:lnTo>
                    <a:pt x="228" y="822"/>
                  </a:lnTo>
                  <a:lnTo>
                    <a:pt x="210" y="810"/>
                  </a:lnTo>
                  <a:lnTo>
                    <a:pt x="198" y="804"/>
                  </a:lnTo>
                  <a:lnTo>
                    <a:pt x="186" y="792"/>
                  </a:lnTo>
                  <a:lnTo>
                    <a:pt x="174" y="780"/>
                  </a:lnTo>
                  <a:lnTo>
                    <a:pt x="162" y="768"/>
                  </a:lnTo>
                  <a:lnTo>
                    <a:pt x="150" y="762"/>
                  </a:lnTo>
                  <a:lnTo>
                    <a:pt x="138" y="750"/>
                  </a:lnTo>
                  <a:lnTo>
                    <a:pt x="126" y="738"/>
                  </a:lnTo>
                  <a:lnTo>
                    <a:pt x="114" y="726"/>
                  </a:lnTo>
                  <a:lnTo>
                    <a:pt x="102" y="714"/>
                  </a:lnTo>
                  <a:lnTo>
                    <a:pt x="96" y="702"/>
                  </a:lnTo>
                  <a:lnTo>
                    <a:pt x="84" y="696"/>
                  </a:lnTo>
                  <a:lnTo>
                    <a:pt x="78" y="684"/>
                  </a:lnTo>
                  <a:lnTo>
                    <a:pt x="66" y="672"/>
                  </a:lnTo>
                  <a:lnTo>
                    <a:pt x="60" y="660"/>
                  </a:lnTo>
                  <a:lnTo>
                    <a:pt x="54" y="648"/>
                  </a:lnTo>
                  <a:lnTo>
                    <a:pt x="48" y="636"/>
                  </a:lnTo>
                  <a:lnTo>
                    <a:pt x="42" y="624"/>
                  </a:lnTo>
                  <a:lnTo>
                    <a:pt x="36" y="612"/>
                  </a:lnTo>
                  <a:lnTo>
                    <a:pt x="30" y="600"/>
                  </a:lnTo>
                  <a:lnTo>
                    <a:pt x="24" y="588"/>
                  </a:lnTo>
                  <a:lnTo>
                    <a:pt x="18" y="576"/>
                  </a:lnTo>
                  <a:lnTo>
                    <a:pt x="12" y="564"/>
                  </a:lnTo>
                  <a:lnTo>
                    <a:pt x="12" y="558"/>
                  </a:lnTo>
                  <a:lnTo>
                    <a:pt x="6" y="546"/>
                  </a:lnTo>
                  <a:lnTo>
                    <a:pt x="6" y="534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0" y="498"/>
                  </a:lnTo>
                  <a:lnTo>
                    <a:pt x="0" y="486"/>
                  </a:lnTo>
                  <a:lnTo>
                    <a:pt x="0" y="474"/>
                  </a:lnTo>
                  <a:lnTo>
                    <a:pt x="0" y="462"/>
                  </a:lnTo>
                  <a:lnTo>
                    <a:pt x="0" y="450"/>
                  </a:lnTo>
                  <a:lnTo>
                    <a:pt x="0" y="438"/>
                  </a:lnTo>
                  <a:lnTo>
                    <a:pt x="0" y="426"/>
                  </a:lnTo>
                  <a:lnTo>
                    <a:pt x="6" y="414"/>
                  </a:lnTo>
                  <a:lnTo>
                    <a:pt x="6" y="402"/>
                  </a:lnTo>
                  <a:lnTo>
                    <a:pt x="12" y="390"/>
                  </a:lnTo>
                  <a:lnTo>
                    <a:pt x="12" y="378"/>
                  </a:lnTo>
                  <a:lnTo>
                    <a:pt x="18" y="366"/>
                  </a:lnTo>
                  <a:lnTo>
                    <a:pt x="24" y="354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42" y="318"/>
                  </a:lnTo>
                  <a:lnTo>
                    <a:pt x="48" y="306"/>
                  </a:lnTo>
                  <a:lnTo>
                    <a:pt x="54" y="300"/>
                  </a:lnTo>
                  <a:lnTo>
                    <a:pt x="60" y="288"/>
                  </a:lnTo>
                  <a:lnTo>
                    <a:pt x="66" y="276"/>
                  </a:lnTo>
                  <a:lnTo>
                    <a:pt x="78" y="264"/>
                  </a:lnTo>
                  <a:lnTo>
                    <a:pt x="84" y="252"/>
                  </a:lnTo>
                  <a:lnTo>
                    <a:pt x="96" y="240"/>
                  </a:lnTo>
                  <a:lnTo>
                    <a:pt x="102" y="228"/>
                  </a:lnTo>
                  <a:lnTo>
                    <a:pt x="114" y="216"/>
                  </a:lnTo>
                  <a:lnTo>
                    <a:pt x="126" y="210"/>
                  </a:lnTo>
                  <a:lnTo>
                    <a:pt x="138" y="198"/>
                  </a:lnTo>
                  <a:lnTo>
                    <a:pt x="150" y="186"/>
                  </a:lnTo>
                  <a:lnTo>
                    <a:pt x="162" y="174"/>
                  </a:lnTo>
                  <a:lnTo>
                    <a:pt x="174" y="162"/>
                  </a:lnTo>
                  <a:lnTo>
                    <a:pt x="186" y="156"/>
                  </a:lnTo>
                  <a:lnTo>
                    <a:pt x="198" y="144"/>
                  </a:lnTo>
                  <a:lnTo>
                    <a:pt x="210" y="132"/>
                  </a:lnTo>
                  <a:lnTo>
                    <a:pt x="228" y="126"/>
                  </a:lnTo>
                  <a:lnTo>
                    <a:pt x="240" y="114"/>
                  </a:lnTo>
                  <a:lnTo>
                    <a:pt x="258" y="102"/>
                  </a:lnTo>
                  <a:lnTo>
                    <a:pt x="270" y="96"/>
                  </a:lnTo>
                  <a:lnTo>
                    <a:pt x="288" y="84"/>
                  </a:lnTo>
                  <a:lnTo>
                    <a:pt x="306" y="72"/>
                  </a:lnTo>
                  <a:lnTo>
                    <a:pt x="318" y="66"/>
                  </a:lnTo>
                  <a:lnTo>
                    <a:pt x="336" y="54"/>
                  </a:lnTo>
                  <a:lnTo>
                    <a:pt x="354" y="48"/>
                  </a:lnTo>
                  <a:lnTo>
                    <a:pt x="372" y="36"/>
                  </a:lnTo>
                  <a:lnTo>
                    <a:pt x="390" y="30"/>
                  </a:lnTo>
                  <a:lnTo>
                    <a:pt x="408" y="18"/>
                  </a:lnTo>
                  <a:lnTo>
                    <a:pt x="426" y="12"/>
                  </a:lnTo>
                  <a:lnTo>
                    <a:pt x="450" y="0"/>
                  </a:lnTo>
                  <a:lnTo>
                    <a:pt x="1596" y="474"/>
                  </a:lnTo>
                  <a:lnTo>
                    <a:pt x="3108" y="696"/>
                  </a:ln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9" name="Oval 17"/>
            <p:cNvSpPr>
              <a:spLocks noChangeArrowheads="1"/>
            </p:cNvSpPr>
            <p:nvPr/>
          </p:nvSpPr>
          <p:spPr bwMode="auto">
            <a:xfrm>
              <a:off x="3711977" y="2320193"/>
              <a:ext cx="1471208" cy="438711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7001">
                  <a:srgbClr val="E6E6E6"/>
                </a:gs>
                <a:gs pos="32001">
                  <a:srgbClr val="7D8496"/>
                </a:gs>
                <a:gs pos="47000">
                  <a:srgbClr val="E6E6E6"/>
                </a:gs>
                <a:gs pos="85001">
                  <a:srgbClr val="7D8496"/>
                </a:gs>
                <a:gs pos="100000">
                  <a:srgbClr val="E6E6E6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0" name="Oval 18"/>
            <p:cNvSpPr>
              <a:spLocks noChangeArrowheads="1"/>
            </p:cNvSpPr>
            <p:nvPr/>
          </p:nvSpPr>
          <p:spPr bwMode="auto">
            <a:xfrm>
              <a:off x="3831264" y="2471290"/>
              <a:ext cx="1208776" cy="303519"/>
            </a:xfrm>
            <a:prstGeom prst="ellipse">
              <a:avLst/>
            </a:prstGeom>
            <a:gradFill rotWithShape="1">
              <a:gsLst>
                <a:gs pos="0">
                  <a:srgbClr val="CC3300"/>
                </a:gs>
                <a:gs pos="100000">
                  <a:srgbClr val="5E1800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none" anchor="ctr"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6" name="Text Box 24"/>
            <p:cNvSpPr txBox="1">
              <a:spLocks noChangeArrowheads="1"/>
            </p:cNvSpPr>
            <p:nvPr/>
          </p:nvSpPr>
          <p:spPr bwMode="auto">
            <a:xfrm>
              <a:off x="4108275" y="2807945"/>
              <a:ext cx="54373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latinLnBrk="1" hangingPunct="1"/>
              <a:r>
                <a:rPr kumimoji="1" lang="en-US" altLang="ko-KR" sz="1400" b="1">
                  <a:solidFill>
                    <a:schemeClr val="bg1"/>
                  </a:solidFill>
                  <a:ea typeface="Gulim" panose="020B0600000101010101" pitchFamily="34" charset="-127"/>
                </a:rPr>
                <a:t>55%</a:t>
              </a:r>
              <a:endParaRPr kumimoji="1" lang="en-US" altLang="ko-KR" sz="1400" b="1">
                <a:solidFill>
                  <a:schemeClr val="bg1"/>
                </a:solidFill>
                <a:ea typeface="Gulim" panose="020B0600000101010101" pitchFamily="34" charset="-127"/>
              </a:endParaRPr>
            </a:p>
          </p:txBody>
        </p:sp>
        <p:sp>
          <p:nvSpPr>
            <p:cNvPr id="27" name="Text Box 25"/>
            <p:cNvSpPr txBox="1">
              <a:spLocks noChangeArrowheads="1"/>
            </p:cNvSpPr>
            <p:nvPr/>
          </p:nvSpPr>
          <p:spPr bwMode="auto">
            <a:xfrm>
              <a:off x="3831264" y="2031253"/>
              <a:ext cx="54373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latinLnBrk="1" hangingPunct="1"/>
              <a:r>
                <a:rPr kumimoji="1" lang="en-US" altLang="ko-KR" sz="1400" b="1" dirty="0">
                  <a:solidFill>
                    <a:schemeClr val="bg1"/>
                  </a:solidFill>
                  <a:ea typeface="Gulim" panose="020B0600000101010101" pitchFamily="34" charset="-127"/>
                </a:rPr>
                <a:t>15%</a:t>
              </a:r>
              <a:endParaRPr kumimoji="1" lang="en-US" altLang="ko-KR" sz="1400" b="1" dirty="0">
                <a:solidFill>
                  <a:schemeClr val="bg1"/>
                </a:solidFill>
                <a:ea typeface="Gulim" panose="020B0600000101010101" pitchFamily="34" charset="-127"/>
              </a:endParaRPr>
            </a:p>
          </p:txBody>
        </p:sp>
        <p:sp>
          <p:nvSpPr>
            <p:cNvPr id="28" name="Text Box 26"/>
            <p:cNvSpPr txBox="1">
              <a:spLocks noChangeArrowheads="1"/>
            </p:cNvSpPr>
            <p:nvPr/>
          </p:nvSpPr>
          <p:spPr bwMode="auto">
            <a:xfrm>
              <a:off x="4558915" y="2031253"/>
              <a:ext cx="54373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latinLnBrk="1" hangingPunct="1"/>
              <a:r>
                <a:rPr kumimoji="1" lang="en-US" altLang="ko-KR" sz="1400" b="1" dirty="0">
                  <a:solidFill>
                    <a:schemeClr val="bg1"/>
                  </a:solidFill>
                  <a:ea typeface="Gulim" panose="020B0600000101010101" pitchFamily="34" charset="-127"/>
                </a:rPr>
                <a:t>20%</a:t>
              </a:r>
              <a:endParaRPr kumimoji="1" lang="en-US" altLang="ko-KR" sz="1400" b="1" dirty="0">
                <a:solidFill>
                  <a:schemeClr val="bg1"/>
                </a:solidFill>
                <a:ea typeface="Gulim" panose="020B0600000101010101" pitchFamily="34" charset="-127"/>
              </a:endParaRPr>
            </a:p>
          </p:txBody>
        </p:sp>
        <p:sp>
          <p:nvSpPr>
            <p:cNvPr id="29" name="Text Box 27"/>
            <p:cNvSpPr txBox="1">
              <a:spLocks noChangeArrowheads="1"/>
            </p:cNvSpPr>
            <p:nvPr/>
          </p:nvSpPr>
          <p:spPr bwMode="auto">
            <a:xfrm>
              <a:off x="5234876" y="2344051"/>
              <a:ext cx="54373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latinLnBrk="1" hangingPunct="1"/>
              <a:r>
                <a:rPr kumimoji="1" lang="en-US" altLang="ko-KR" sz="1400" b="1">
                  <a:solidFill>
                    <a:schemeClr val="bg1"/>
                  </a:solidFill>
                  <a:ea typeface="Gulim" panose="020B0600000101010101" pitchFamily="34" charset="-127"/>
                </a:rPr>
                <a:t>10%</a:t>
              </a:r>
              <a:endParaRPr kumimoji="1" lang="en-US" altLang="ko-KR" sz="1400" b="1">
                <a:solidFill>
                  <a:schemeClr val="bg1"/>
                </a:solidFill>
                <a:ea typeface="Gulim" panose="020B0600000101010101" pitchFamily="34" charset="-127"/>
              </a:endParaRPr>
            </a:p>
          </p:txBody>
        </p:sp>
      </p:grpSp>
      <p:sp>
        <p:nvSpPr>
          <p:cNvPr id="30" name="Text Box 29"/>
          <p:cNvSpPr txBox="1">
            <a:spLocks noChangeArrowheads="1"/>
          </p:cNvSpPr>
          <p:nvPr/>
        </p:nvSpPr>
        <p:spPr bwMode="auto">
          <a:xfrm>
            <a:off x="1246710" y="2455510"/>
            <a:ext cx="1569660" cy="76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</a:t>
            </a: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标题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加文字内容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171450" indent="-17145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</a:t>
            </a: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加文字内容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1" name="Text Box 30"/>
          <p:cNvSpPr txBox="1">
            <a:spLocks noChangeArrowheads="1"/>
          </p:cNvSpPr>
          <p:nvPr/>
        </p:nvSpPr>
        <p:spPr bwMode="auto">
          <a:xfrm>
            <a:off x="4092332" y="3372863"/>
            <a:ext cx="141577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6144109" y="2103118"/>
            <a:ext cx="1399636" cy="70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 fontAlgn="t" latinLnBrk="1">
              <a:lnSpc>
                <a:spcPct val="110000"/>
              </a:lnSpc>
            </a:pPr>
            <a:endParaRPr kumimoji="1" lang="ko-KR" altLang="en-US" sz="1000" b="1" dirty="0">
              <a:solidFill>
                <a:schemeClr val="bg1"/>
              </a:solidFill>
              <a:ea typeface="Gulim" panose="020B0600000101010101" pitchFamily="34" charset="-127"/>
            </a:endParaRPr>
          </a:p>
          <a:p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4851832" y="1457642"/>
            <a:ext cx="16899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3134097" y="1419205"/>
            <a:ext cx="95410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填加文字</a:t>
            </a:r>
            <a:endParaRPr lang="en-US" altLang="zh-CN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30" grpId="0"/>
      <p:bldP spid="31" grpId="0"/>
      <p:bldP spid="32" grpId="0"/>
      <p:bldP spid="33" grpId="0"/>
      <p:bldP spid="3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 bwMode="auto">
          <a:xfrm>
            <a:off x="2226918" y="1522880"/>
            <a:ext cx="4658701" cy="2717577"/>
            <a:chOff x="864" y="1310"/>
            <a:chExt cx="3987" cy="2338"/>
          </a:xfrm>
        </p:grpSpPr>
        <p:sp>
          <p:nvSpPr>
            <p:cNvPr id="4" name="Oval 3"/>
            <p:cNvSpPr>
              <a:spLocks noChangeArrowheads="1"/>
            </p:cNvSpPr>
            <p:nvPr/>
          </p:nvSpPr>
          <p:spPr bwMode="gray">
            <a:xfrm>
              <a:off x="1347" y="2813"/>
              <a:ext cx="3504" cy="835"/>
            </a:xfrm>
            <a:prstGeom prst="ellipse">
              <a:avLst/>
            </a:prstGeom>
            <a:gradFill rotWithShape="1">
              <a:gsLst>
                <a:gs pos="0">
                  <a:srgbClr val="FF6600"/>
                </a:gs>
                <a:gs pos="100000">
                  <a:srgbClr val="F7F9F2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round/>
                  <a:tailEnd type="none" w="sm" len="sm"/>
                </a14:hiddenLine>
              </a:ext>
            </a:extLst>
          </p:spPr>
          <p:txBody>
            <a:bodyPr vert="eaVert" wrap="none" lIns="92075" tIns="46038" rIns="92075" bIns="46038" anchor="ctr"/>
            <a:lstStyle/>
            <a:p>
              <a:endParaRPr lang="zh-CN" altLang="en-US"/>
            </a:p>
          </p:txBody>
        </p:sp>
        <p:sp>
          <p:nvSpPr>
            <p:cNvPr id="5" name="Oval 4"/>
            <p:cNvSpPr>
              <a:spLocks noChangeArrowheads="1"/>
            </p:cNvSpPr>
            <p:nvPr/>
          </p:nvSpPr>
          <p:spPr bwMode="gray">
            <a:xfrm rot="20601703">
              <a:off x="890" y="1482"/>
              <a:ext cx="3630" cy="1900"/>
            </a:xfrm>
            <a:prstGeom prst="ellipse">
              <a:avLst/>
            </a:prstGeom>
            <a:gradFill rotWithShape="0">
              <a:gsLst>
                <a:gs pos="0">
                  <a:srgbClr val="808080"/>
                </a:gs>
                <a:gs pos="50000">
                  <a:srgbClr val="AEAEAE"/>
                </a:gs>
                <a:gs pos="100000">
                  <a:srgbClr val="808080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" name="Oval 5"/>
            <p:cNvSpPr>
              <a:spLocks noChangeArrowheads="1"/>
            </p:cNvSpPr>
            <p:nvPr/>
          </p:nvSpPr>
          <p:spPr bwMode="gray">
            <a:xfrm rot="20601703">
              <a:off x="926" y="1380"/>
              <a:ext cx="3504" cy="1841"/>
            </a:xfrm>
            <a:prstGeom prst="ellipse">
              <a:avLst/>
            </a:prstGeom>
            <a:gradFill rotWithShape="1">
              <a:gsLst>
                <a:gs pos="0">
                  <a:srgbClr val="2791BB"/>
                </a:gs>
                <a:gs pos="100000">
                  <a:srgbClr val="000000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7" name="Arc 6"/>
            <p:cNvSpPr/>
            <p:nvPr/>
          </p:nvSpPr>
          <p:spPr bwMode="gray">
            <a:xfrm rot="20601703">
              <a:off x="2599" y="1310"/>
              <a:ext cx="1795" cy="1239"/>
            </a:xfrm>
            <a:custGeom>
              <a:avLst/>
              <a:gdLst>
                <a:gd name="G0" fmla="+- 0 0 0"/>
                <a:gd name="G1" fmla="+- 17105 0 0"/>
                <a:gd name="G2" fmla="+- 21600 0 0"/>
                <a:gd name="T0" fmla="*/ 13190 w 21600"/>
                <a:gd name="T1" fmla="*/ 0 h 29046"/>
                <a:gd name="T2" fmla="*/ 17999 w 21600"/>
                <a:gd name="T3" fmla="*/ 29046 h 29046"/>
                <a:gd name="T4" fmla="*/ 0 w 21600"/>
                <a:gd name="T5" fmla="*/ 17105 h 29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9046" fill="none" extrusionOk="0">
                  <a:moveTo>
                    <a:pt x="13190" y="-1"/>
                  </a:moveTo>
                  <a:cubicBezTo>
                    <a:pt x="18493" y="4089"/>
                    <a:pt x="21600" y="10407"/>
                    <a:pt x="21600" y="17105"/>
                  </a:cubicBezTo>
                  <a:cubicBezTo>
                    <a:pt x="21600" y="21352"/>
                    <a:pt x="20347" y="25506"/>
                    <a:pt x="17999" y="29046"/>
                  </a:cubicBezTo>
                </a:path>
                <a:path w="21600" h="29046" stroke="0" extrusionOk="0">
                  <a:moveTo>
                    <a:pt x="13190" y="-1"/>
                  </a:moveTo>
                  <a:cubicBezTo>
                    <a:pt x="18493" y="4089"/>
                    <a:pt x="21600" y="10407"/>
                    <a:pt x="21600" y="17105"/>
                  </a:cubicBezTo>
                  <a:cubicBezTo>
                    <a:pt x="21600" y="21352"/>
                    <a:pt x="20347" y="25506"/>
                    <a:pt x="17999" y="29046"/>
                  </a:cubicBezTo>
                  <a:lnTo>
                    <a:pt x="0" y="17105"/>
                  </a:lnTo>
                  <a:close/>
                </a:path>
              </a:pathLst>
            </a:custGeom>
            <a:solidFill>
              <a:srgbClr val="FF0000"/>
            </a:solidFill>
            <a:ln w="12700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8" name="Arc 7"/>
            <p:cNvSpPr/>
            <p:nvPr/>
          </p:nvSpPr>
          <p:spPr bwMode="gray">
            <a:xfrm rot="20601703" flipH="1">
              <a:off x="1080" y="2491"/>
              <a:ext cx="2067" cy="930"/>
            </a:xfrm>
            <a:custGeom>
              <a:avLst/>
              <a:gdLst>
                <a:gd name="G0" fmla="+- 3659 0 0"/>
                <a:gd name="G1" fmla="+- 0 0 0"/>
                <a:gd name="G2" fmla="+- 21600 0 0"/>
                <a:gd name="T0" fmla="*/ 25114 w 25114"/>
                <a:gd name="T1" fmla="*/ 2497 h 21600"/>
                <a:gd name="T2" fmla="*/ 0 w 25114"/>
                <a:gd name="T3" fmla="*/ 21288 h 21600"/>
                <a:gd name="T4" fmla="*/ 3659 w 25114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114" h="21600" fill="none" extrusionOk="0">
                  <a:moveTo>
                    <a:pt x="25114" y="2497"/>
                  </a:moveTo>
                  <a:cubicBezTo>
                    <a:pt x="23846" y="13386"/>
                    <a:pt x="14622" y="21599"/>
                    <a:pt x="3659" y="21600"/>
                  </a:cubicBezTo>
                  <a:cubicBezTo>
                    <a:pt x="2432" y="21600"/>
                    <a:pt x="1208" y="21495"/>
                    <a:pt x="0" y="21287"/>
                  </a:cubicBezTo>
                </a:path>
                <a:path w="25114" h="21600" stroke="0" extrusionOk="0">
                  <a:moveTo>
                    <a:pt x="25114" y="2497"/>
                  </a:moveTo>
                  <a:cubicBezTo>
                    <a:pt x="23846" y="13386"/>
                    <a:pt x="14622" y="21599"/>
                    <a:pt x="3659" y="21600"/>
                  </a:cubicBezTo>
                  <a:cubicBezTo>
                    <a:pt x="2432" y="21600"/>
                    <a:pt x="1208" y="21495"/>
                    <a:pt x="0" y="21287"/>
                  </a:cubicBezTo>
                  <a:lnTo>
                    <a:pt x="3659" y="0"/>
                  </a:lnTo>
                  <a:close/>
                </a:path>
              </a:pathLst>
            </a:custGeom>
            <a:solidFill>
              <a:srgbClr val="FF6600"/>
            </a:solidFill>
            <a:ln w="12700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9" name="Arc 8"/>
            <p:cNvSpPr/>
            <p:nvPr/>
          </p:nvSpPr>
          <p:spPr bwMode="gray">
            <a:xfrm rot="20601703">
              <a:off x="1715" y="1339"/>
              <a:ext cx="2034" cy="893"/>
            </a:xfrm>
            <a:custGeom>
              <a:avLst/>
              <a:gdLst>
                <a:gd name="G0" fmla="+- 9843 0 0"/>
                <a:gd name="G1" fmla="+- 21600 0 0"/>
                <a:gd name="G2" fmla="+- 21600 0 0"/>
                <a:gd name="T0" fmla="*/ 0 w 24549"/>
                <a:gd name="T1" fmla="*/ 2373 h 21600"/>
                <a:gd name="T2" fmla="*/ 24549 w 24549"/>
                <a:gd name="T3" fmla="*/ 5780 h 21600"/>
                <a:gd name="T4" fmla="*/ 9843 w 2454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549" h="21600" fill="none" extrusionOk="0">
                  <a:moveTo>
                    <a:pt x="0" y="2373"/>
                  </a:moveTo>
                  <a:cubicBezTo>
                    <a:pt x="3046" y="813"/>
                    <a:pt x="6420" y="-1"/>
                    <a:pt x="9843" y="0"/>
                  </a:cubicBezTo>
                  <a:cubicBezTo>
                    <a:pt x="15299" y="0"/>
                    <a:pt x="20553" y="2064"/>
                    <a:pt x="24549" y="5779"/>
                  </a:cubicBezTo>
                </a:path>
                <a:path w="24549" h="21600" stroke="0" extrusionOk="0">
                  <a:moveTo>
                    <a:pt x="0" y="2373"/>
                  </a:moveTo>
                  <a:cubicBezTo>
                    <a:pt x="3046" y="813"/>
                    <a:pt x="6420" y="-1"/>
                    <a:pt x="9843" y="0"/>
                  </a:cubicBezTo>
                  <a:cubicBezTo>
                    <a:pt x="15299" y="0"/>
                    <a:pt x="20553" y="2064"/>
                    <a:pt x="24549" y="5779"/>
                  </a:cubicBezTo>
                  <a:lnTo>
                    <a:pt x="9843" y="21600"/>
                  </a:lnTo>
                  <a:close/>
                </a:path>
              </a:pathLst>
            </a:custGeom>
            <a:solidFill>
              <a:srgbClr val="FF6600"/>
            </a:solidFill>
            <a:ln w="12700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0" name="Arc 9"/>
            <p:cNvSpPr/>
            <p:nvPr/>
          </p:nvSpPr>
          <p:spPr bwMode="gray">
            <a:xfrm rot="20601703" flipH="1">
              <a:off x="864" y="1712"/>
              <a:ext cx="1796" cy="1302"/>
            </a:xfrm>
            <a:custGeom>
              <a:avLst/>
              <a:gdLst>
                <a:gd name="G0" fmla="+- 0 0 0"/>
                <a:gd name="G1" fmla="+- 19945 0 0"/>
                <a:gd name="G2" fmla="+- 21600 0 0"/>
                <a:gd name="T0" fmla="*/ 8292 w 21600"/>
                <a:gd name="T1" fmla="*/ 0 h 30468"/>
                <a:gd name="T2" fmla="*/ 18863 w 21600"/>
                <a:gd name="T3" fmla="*/ 30468 h 30468"/>
                <a:gd name="T4" fmla="*/ 0 w 21600"/>
                <a:gd name="T5" fmla="*/ 19945 h 30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0468" fill="none" extrusionOk="0">
                  <a:moveTo>
                    <a:pt x="8291" y="0"/>
                  </a:moveTo>
                  <a:cubicBezTo>
                    <a:pt x="16349" y="3349"/>
                    <a:pt x="21600" y="11218"/>
                    <a:pt x="21600" y="19945"/>
                  </a:cubicBezTo>
                  <a:cubicBezTo>
                    <a:pt x="21600" y="23628"/>
                    <a:pt x="20657" y="27251"/>
                    <a:pt x="18863" y="30468"/>
                  </a:cubicBezTo>
                </a:path>
                <a:path w="21600" h="30468" stroke="0" extrusionOk="0">
                  <a:moveTo>
                    <a:pt x="8291" y="0"/>
                  </a:moveTo>
                  <a:cubicBezTo>
                    <a:pt x="16349" y="3349"/>
                    <a:pt x="21600" y="11218"/>
                    <a:pt x="21600" y="19945"/>
                  </a:cubicBezTo>
                  <a:cubicBezTo>
                    <a:pt x="21600" y="23628"/>
                    <a:pt x="20657" y="27251"/>
                    <a:pt x="18863" y="30468"/>
                  </a:cubicBezTo>
                  <a:lnTo>
                    <a:pt x="0" y="19945"/>
                  </a:lnTo>
                  <a:close/>
                </a:path>
              </a:pathLst>
            </a:custGeom>
            <a:solidFill>
              <a:srgbClr val="FFA219"/>
            </a:solidFill>
            <a:ln w="12700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1" name="Freeform 10"/>
            <p:cNvSpPr/>
            <p:nvPr/>
          </p:nvSpPr>
          <p:spPr bwMode="gray">
            <a:xfrm>
              <a:off x="3442" y="2282"/>
              <a:ext cx="1104" cy="1120"/>
            </a:xfrm>
            <a:custGeom>
              <a:avLst/>
              <a:gdLst/>
              <a:ahLst/>
              <a:cxnLst>
                <a:cxn ang="0">
                  <a:pos x="9" y="888"/>
                </a:cxn>
                <a:cxn ang="0">
                  <a:pos x="1105" y="0"/>
                </a:cxn>
                <a:cxn ang="0">
                  <a:pos x="1081" y="256"/>
                </a:cxn>
                <a:cxn ang="0">
                  <a:pos x="705" y="704"/>
                </a:cxn>
                <a:cxn ang="0">
                  <a:pos x="17" y="1120"/>
                </a:cxn>
                <a:cxn ang="0">
                  <a:pos x="9" y="888"/>
                </a:cxn>
              </a:cxnLst>
              <a:rect l="0" t="0" r="r" b="b"/>
              <a:pathLst>
                <a:path w="1105" h="1120">
                  <a:moveTo>
                    <a:pt x="9" y="888"/>
                  </a:moveTo>
                  <a:lnTo>
                    <a:pt x="1105" y="0"/>
                  </a:lnTo>
                  <a:lnTo>
                    <a:pt x="1081" y="256"/>
                  </a:lnTo>
                  <a:cubicBezTo>
                    <a:pt x="1014" y="373"/>
                    <a:pt x="882" y="560"/>
                    <a:pt x="705" y="704"/>
                  </a:cubicBezTo>
                  <a:cubicBezTo>
                    <a:pt x="528" y="848"/>
                    <a:pt x="133" y="1089"/>
                    <a:pt x="17" y="1120"/>
                  </a:cubicBezTo>
                  <a:cubicBezTo>
                    <a:pt x="0" y="1038"/>
                    <a:pt x="9" y="888"/>
                    <a:pt x="9" y="888"/>
                  </a:cubicBezTo>
                  <a:close/>
                </a:path>
              </a:pathLst>
            </a:custGeom>
            <a:solidFill>
              <a:srgbClr val="C00000"/>
            </a:solidFill>
            <a:ln w="9525" cap="flat" cmpd="sng">
              <a:noFill/>
              <a:prstDash val="solid"/>
              <a:rou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2" name="Arc 11"/>
            <p:cNvSpPr/>
            <p:nvPr/>
          </p:nvSpPr>
          <p:spPr bwMode="gray">
            <a:xfrm rot="20539205">
              <a:off x="2840" y="1897"/>
              <a:ext cx="1719" cy="1171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18016 w 18016"/>
                <a:gd name="T1" fmla="*/ 11915 h 21282"/>
                <a:gd name="T2" fmla="*/ 3695 w 18016"/>
                <a:gd name="T3" fmla="*/ 21282 h 21282"/>
                <a:gd name="T4" fmla="*/ 0 w 18016"/>
                <a:gd name="T5" fmla="*/ 0 h 2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016" h="21282" fill="none" extrusionOk="0">
                  <a:moveTo>
                    <a:pt x="18016" y="11915"/>
                  </a:moveTo>
                  <a:cubicBezTo>
                    <a:pt x="14735" y="16875"/>
                    <a:pt x="9554" y="20264"/>
                    <a:pt x="3694" y="21281"/>
                  </a:cubicBezTo>
                </a:path>
                <a:path w="18016" h="21282" stroke="0" extrusionOk="0">
                  <a:moveTo>
                    <a:pt x="18016" y="11915"/>
                  </a:moveTo>
                  <a:cubicBezTo>
                    <a:pt x="14735" y="16875"/>
                    <a:pt x="9554" y="20264"/>
                    <a:pt x="3694" y="2128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E0000"/>
            </a:solidFill>
            <a:ln w="12700">
              <a:noFill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3" name="Freeform 12"/>
            <p:cNvSpPr/>
            <p:nvPr/>
          </p:nvSpPr>
          <p:spPr bwMode="gray">
            <a:xfrm>
              <a:off x="2819" y="2496"/>
              <a:ext cx="649" cy="907"/>
            </a:xfrm>
            <a:custGeom>
              <a:avLst/>
              <a:gdLst>
                <a:gd name="connsiteX0" fmla="*/ 10031 w 10031"/>
                <a:gd name="connsiteY0" fmla="*/ 7185 h 10000"/>
                <a:gd name="connsiteX1" fmla="*/ 10000 w 10031"/>
                <a:gd name="connsiteY1" fmla="*/ 10000 h 10000"/>
                <a:gd name="connsiteX2" fmla="*/ 0 w 10031"/>
                <a:gd name="connsiteY2" fmla="*/ 690 h 10000"/>
                <a:gd name="connsiteX3" fmla="*/ 1481 w 10031"/>
                <a:gd name="connsiteY3" fmla="*/ 0 h 10000"/>
                <a:gd name="connsiteX4" fmla="*/ 10031 w 10031"/>
                <a:gd name="connsiteY4" fmla="*/ 7185 h 10000"/>
                <a:gd name="connsiteX0-1" fmla="*/ 10031 w 10031"/>
                <a:gd name="connsiteY0-2" fmla="*/ 7185 h 9735"/>
                <a:gd name="connsiteX1-3" fmla="*/ 9968 w 10031"/>
                <a:gd name="connsiteY1-4" fmla="*/ 9735 h 9735"/>
                <a:gd name="connsiteX2-5" fmla="*/ 0 w 10031"/>
                <a:gd name="connsiteY2-6" fmla="*/ 690 h 9735"/>
                <a:gd name="connsiteX3-7" fmla="*/ 1481 w 10031"/>
                <a:gd name="connsiteY3-8" fmla="*/ 0 h 9735"/>
                <a:gd name="connsiteX4-9" fmla="*/ 10031 w 10031"/>
                <a:gd name="connsiteY4-10" fmla="*/ 7185 h 9735"/>
                <a:gd name="connsiteX0-11" fmla="*/ 10000 w 10000"/>
                <a:gd name="connsiteY0-12" fmla="*/ 7381 h 10068"/>
                <a:gd name="connsiteX1-13" fmla="*/ 9968 w 10000"/>
                <a:gd name="connsiteY1-14" fmla="*/ 10068 h 10068"/>
                <a:gd name="connsiteX2-15" fmla="*/ 0 w 10000"/>
                <a:gd name="connsiteY2-16" fmla="*/ 709 h 10068"/>
                <a:gd name="connsiteX3-17" fmla="*/ 1476 w 10000"/>
                <a:gd name="connsiteY3-18" fmla="*/ 0 h 10068"/>
                <a:gd name="connsiteX4-19" fmla="*/ 10000 w 10000"/>
                <a:gd name="connsiteY4-20" fmla="*/ 7381 h 10068"/>
                <a:gd name="connsiteX0-21" fmla="*/ 10000 w 10000"/>
                <a:gd name="connsiteY0-22" fmla="*/ 7381 h 9977"/>
                <a:gd name="connsiteX1-23" fmla="*/ 9905 w 10000"/>
                <a:gd name="connsiteY1-24" fmla="*/ 9977 h 9977"/>
                <a:gd name="connsiteX2-25" fmla="*/ 0 w 10000"/>
                <a:gd name="connsiteY2-26" fmla="*/ 709 h 9977"/>
                <a:gd name="connsiteX3-27" fmla="*/ 1476 w 10000"/>
                <a:gd name="connsiteY3-28" fmla="*/ 0 h 9977"/>
                <a:gd name="connsiteX4-29" fmla="*/ 10000 w 10000"/>
                <a:gd name="connsiteY4-30" fmla="*/ 7381 h 9977"/>
                <a:gd name="connsiteX0-31" fmla="*/ 10000 w 10000"/>
                <a:gd name="connsiteY0-32" fmla="*/ 7398 h 10068"/>
                <a:gd name="connsiteX1-33" fmla="*/ 9905 w 10000"/>
                <a:gd name="connsiteY1-34" fmla="*/ 10068 h 10068"/>
                <a:gd name="connsiteX2-35" fmla="*/ 0 w 10000"/>
                <a:gd name="connsiteY2-36" fmla="*/ 711 h 10068"/>
                <a:gd name="connsiteX3-37" fmla="*/ 1476 w 10000"/>
                <a:gd name="connsiteY3-38" fmla="*/ 0 h 10068"/>
                <a:gd name="connsiteX4-39" fmla="*/ 10000 w 10000"/>
                <a:gd name="connsiteY4-40" fmla="*/ 7398 h 1006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10000" h="10068">
                  <a:moveTo>
                    <a:pt x="10000" y="7398"/>
                  </a:moveTo>
                  <a:cubicBezTo>
                    <a:pt x="9990" y="8363"/>
                    <a:pt x="9915" y="9102"/>
                    <a:pt x="9905" y="10068"/>
                  </a:cubicBezTo>
                  <a:lnTo>
                    <a:pt x="0" y="711"/>
                  </a:lnTo>
                  <a:lnTo>
                    <a:pt x="1476" y="0"/>
                  </a:lnTo>
                  <a:lnTo>
                    <a:pt x="10000" y="7398"/>
                  </a:lnTo>
                  <a:close/>
                </a:path>
              </a:pathLst>
            </a:custGeom>
            <a:solidFill>
              <a:srgbClr val="C00000"/>
            </a:solidFill>
            <a:ln w="9525" cap="flat" cmpd="sng">
              <a:noFill/>
              <a:prstDash val="solid"/>
              <a:rou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zh-CN" altLang="en-US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4" name="Oval 13"/>
            <p:cNvSpPr>
              <a:spLocks noChangeArrowheads="1"/>
            </p:cNvSpPr>
            <p:nvPr/>
          </p:nvSpPr>
          <p:spPr bwMode="gray">
            <a:xfrm rot="20601703">
              <a:off x="1846" y="1830"/>
              <a:ext cx="1698" cy="844"/>
            </a:xfrm>
            <a:prstGeom prst="ellipse">
              <a:avLst/>
            </a:prstGeom>
            <a:gradFill rotWithShape="0">
              <a:gsLst>
                <a:gs pos="0">
                  <a:srgbClr val="000000"/>
                </a:gs>
                <a:gs pos="50000">
                  <a:srgbClr val="C1C1C1"/>
                </a:gs>
                <a:gs pos="100000">
                  <a:srgbClr val="000000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5" name="Text Box 14"/>
            <p:cNvSpPr txBox="1">
              <a:spLocks noChangeArrowheads="1"/>
            </p:cNvSpPr>
            <p:nvPr/>
          </p:nvSpPr>
          <p:spPr bwMode="gray">
            <a:xfrm>
              <a:off x="1125" y="2257"/>
              <a:ext cx="685" cy="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加标题</a:t>
              </a:r>
              <a:endParaRPr lang="en-US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 Box 15"/>
            <p:cNvSpPr txBox="1">
              <a:spLocks noChangeArrowheads="1"/>
            </p:cNvSpPr>
            <p:nvPr/>
          </p:nvSpPr>
          <p:spPr bwMode="gray">
            <a:xfrm>
              <a:off x="2298" y="1435"/>
              <a:ext cx="685" cy="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200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加标题</a:t>
              </a:r>
              <a:endParaRPr lang="en-US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Text Box 16"/>
            <p:cNvSpPr txBox="1">
              <a:spLocks noChangeArrowheads="1"/>
            </p:cNvSpPr>
            <p:nvPr/>
          </p:nvSpPr>
          <p:spPr bwMode="gray">
            <a:xfrm>
              <a:off x="3476" y="1682"/>
              <a:ext cx="685" cy="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加标题</a:t>
              </a:r>
              <a:endParaRPr lang="en-US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Text Box 17"/>
            <p:cNvSpPr txBox="1">
              <a:spLocks noChangeArrowheads="1"/>
            </p:cNvSpPr>
            <p:nvPr/>
          </p:nvSpPr>
          <p:spPr bwMode="gray">
            <a:xfrm>
              <a:off x="3285" y="2450"/>
              <a:ext cx="685" cy="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加标题</a:t>
              </a:r>
              <a:endParaRPr lang="en-US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Text Box 18"/>
            <p:cNvSpPr txBox="1">
              <a:spLocks noChangeArrowheads="1"/>
            </p:cNvSpPr>
            <p:nvPr/>
          </p:nvSpPr>
          <p:spPr bwMode="gray">
            <a:xfrm>
              <a:off x="1892" y="2881"/>
              <a:ext cx="685" cy="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加标题</a:t>
              </a:r>
              <a:endParaRPr lang="en-US" altLang="zh-CN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Freeform 19"/>
            <p:cNvSpPr/>
            <p:nvPr/>
          </p:nvSpPr>
          <p:spPr bwMode="gray">
            <a:xfrm>
              <a:off x="2768" y="2632"/>
              <a:ext cx="544" cy="680"/>
            </a:xfrm>
            <a:custGeom>
              <a:avLst/>
              <a:gdLst>
                <a:gd name="T0" fmla="*/ 0 w 544"/>
                <a:gd name="T1" fmla="*/ 16 h 680"/>
                <a:gd name="T2" fmla="*/ 256 w 544"/>
                <a:gd name="T3" fmla="*/ 528 h 680"/>
                <a:gd name="T4" fmla="*/ 264 w 544"/>
                <a:gd name="T5" fmla="*/ 680 h 680"/>
                <a:gd name="T6" fmla="*/ 448 w 544"/>
                <a:gd name="T7" fmla="*/ 624 h 680"/>
                <a:gd name="T8" fmla="*/ 544 w 544"/>
                <a:gd name="T9" fmla="*/ 576 h 680"/>
                <a:gd name="T10" fmla="*/ 112 w 544"/>
                <a:gd name="T11" fmla="*/ 0 h 680"/>
                <a:gd name="T12" fmla="*/ 0 w 544"/>
                <a:gd name="T13" fmla="*/ 16 h 6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44"/>
                <a:gd name="T22" fmla="*/ 0 h 680"/>
                <a:gd name="T23" fmla="*/ 544 w 544"/>
                <a:gd name="T24" fmla="*/ 680 h 68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44" h="680">
                  <a:moveTo>
                    <a:pt x="0" y="16"/>
                  </a:moveTo>
                  <a:lnTo>
                    <a:pt x="256" y="528"/>
                  </a:lnTo>
                  <a:lnTo>
                    <a:pt x="264" y="680"/>
                  </a:lnTo>
                  <a:lnTo>
                    <a:pt x="448" y="624"/>
                  </a:lnTo>
                  <a:lnTo>
                    <a:pt x="544" y="576"/>
                  </a:lnTo>
                  <a:lnTo>
                    <a:pt x="112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E0000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1" name="Oval 20"/>
            <p:cNvSpPr>
              <a:spLocks noChangeArrowheads="1"/>
            </p:cNvSpPr>
            <p:nvPr/>
          </p:nvSpPr>
          <p:spPr bwMode="gray">
            <a:xfrm rot="20601703">
              <a:off x="1910" y="1989"/>
              <a:ext cx="1629" cy="68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6475484" y="1152675"/>
            <a:ext cx="1552900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标题</a:t>
            </a:r>
            <a:endParaRPr lang="en-US" altLang="zh-CN" sz="1400" b="1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cxnSp>
        <p:nvCxnSpPr>
          <p:cNvPr id="23" name="AutoShape 23"/>
          <p:cNvCxnSpPr>
            <a:cxnSpLocks noChangeShapeType="1"/>
          </p:cNvCxnSpPr>
          <p:nvPr/>
        </p:nvCxnSpPr>
        <p:spPr bwMode="auto">
          <a:xfrm rot="10800000" flipV="1">
            <a:off x="6079374" y="1470600"/>
            <a:ext cx="295873" cy="314177"/>
          </a:xfrm>
          <a:prstGeom prst="bentConnector2">
            <a:avLst/>
          </a:prstGeom>
          <a:noFill/>
          <a:ln w="9525">
            <a:solidFill>
              <a:srgbClr val="292929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AutoShape 25"/>
          <p:cNvCxnSpPr>
            <a:cxnSpLocks noChangeShapeType="1"/>
          </p:cNvCxnSpPr>
          <p:nvPr/>
        </p:nvCxnSpPr>
        <p:spPr bwMode="auto">
          <a:xfrm>
            <a:off x="2615145" y="2105213"/>
            <a:ext cx="194113" cy="323521"/>
          </a:xfrm>
          <a:prstGeom prst="bentConnector2">
            <a:avLst/>
          </a:prstGeom>
          <a:noFill/>
          <a:ln w="9525">
            <a:solidFill>
              <a:srgbClr val="292929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AutoShape 27"/>
          <p:cNvCxnSpPr>
            <a:cxnSpLocks noChangeShapeType="1"/>
          </p:cNvCxnSpPr>
          <p:nvPr/>
        </p:nvCxnSpPr>
        <p:spPr bwMode="auto">
          <a:xfrm>
            <a:off x="4038636" y="1264058"/>
            <a:ext cx="194113" cy="323521"/>
          </a:xfrm>
          <a:prstGeom prst="bentConnector2">
            <a:avLst/>
          </a:prstGeom>
          <a:noFill/>
          <a:ln w="9525">
            <a:solidFill>
              <a:srgbClr val="292929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AutoShape 29"/>
          <p:cNvCxnSpPr>
            <a:cxnSpLocks noChangeShapeType="1"/>
          </p:cNvCxnSpPr>
          <p:nvPr/>
        </p:nvCxnSpPr>
        <p:spPr bwMode="auto">
          <a:xfrm rot="10800000">
            <a:off x="6173874" y="3011071"/>
            <a:ext cx="533809" cy="517633"/>
          </a:xfrm>
          <a:prstGeom prst="bentConnector3">
            <a:avLst>
              <a:gd name="adj1" fmla="val 51259"/>
            </a:avLst>
          </a:prstGeom>
          <a:noFill/>
          <a:ln w="9525">
            <a:solidFill>
              <a:srgbClr val="292929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AutoShape 31"/>
          <p:cNvCxnSpPr>
            <a:cxnSpLocks noChangeShapeType="1"/>
          </p:cNvCxnSpPr>
          <p:nvPr/>
        </p:nvCxnSpPr>
        <p:spPr bwMode="auto">
          <a:xfrm flipV="1">
            <a:off x="3253446" y="3869750"/>
            <a:ext cx="372701" cy="396151"/>
          </a:xfrm>
          <a:prstGeom prst="bentConnector2">
            <a:avLst/>
          </a:prstGeom>
          <a:noFill/>
          <a:ln w="9525">
            <a:solidFill>
              <a:srgbClr val="292929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Text Box 22"/>
          <p:cNvSpPr txBox="1">
            <a:spLocks noChangeArrowheads="1"/>
          </p:cNvSpPr>
          <p:nvPr/>
        </p:nvSpPr>
        <p:spPr bwMode="auto">
          <a:xfrm>
            <a:off x="6735567" y="3152052"/>
            <a:ext cx="1552900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标题</a:t>
            </a:r>
            <a:endParaRPr lang="en-US" altLang="zh-CN" sz="1400" b="1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33" name="Text Box 22"/>
          <p:cNvSpPr txBox="1">
            <a:spLocks noChangeArrowheads="1"/>
          </p:cNvSpPr>
          <p:nvPr/>
        </p:nvSpPr>
        <p:spPr bwMode="auto">
          <a:xfrm>
            <a:off x="2803076" y="771550"/>
            <a:ext cx="1552900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标题</a:t>
            </a:r>
            <a:endParaRPr lang="en-US" altLang="zh-CN" sz="1400" b="1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0" name="Text Box 22"/>
          <p:cNvSpPr txBox="1">
            <a:spLocks noChangeArrowheads="1"/>
          </p:cNvSpPr>
          <p:nvPr/>
        </p:nvSpPr>
        <p:spPr bwMode="auto">
          <a:xfrm>
            <a:off x="1218900" y="1712719"/>
            <a:ext cx="1552900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标题</a:t>
            </a:r>
            <a:endParaRPr lang="en-US" altLang="zh-CN" sz="1400" b="1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41" name="Text Box 22"/>
          <p:cNvSpPr txBox="1">
            <a:spLocks noChangeArrowheads="1"/>
          </p:cNvSpPr>
          <p:nvPr/>
        </p:nvSpPr>
        <p:spPr bwMode="auto">
          <a:xfrm>
            <a:off x="1835696" y="3909561"/>
            <a:ext cx="1552900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标题</a:t>
            </a:r>
            <a:endParaRPr lang="en-US" altLang="zh-CN" sz="1400" b="1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r>
              <a:rPr lang="zh-CN" altLang="en-US" sz="9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填加</a:t>
            </a:r>
            <a:r>
              <a:rPr lang="zh-CN" altLang="en-US" sz="9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文字内容</a:t>
            </a:r>
            <a:endParaRPr lang="en-US" altLang="zh-CN" sz="9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0"/>
                            </p:stCondLst>
                            <p:childTnLst>
                              <p:par>
                                <p:cTn id="5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500"/>
                            </p:stCondLst>
                            <p:childTnLst>
                              <p:par>
                                <p:cTn id="5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32" grpId="0"/>
      <p:bldP spid="33" grpId="0"/>
      <p:bldP spid="40" grpId="0"/>
      <p:bldP spid="4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813320" y="1067499"/>
            <a:ext cx="3094076" cy="3592483"/>
            <a:chOff x="813320" y="1355531"/>
            <a:chExt cx="3094076" cy="3592483"/>
          </a:xfrm>
        </p:grpSpPr>
        <p:sp>
          <p:nvSpPr>
            <p:cNvPr id="2" name="椭圆 16"/>
            <p:cNvSpPr/>
            <p:nvPr/>
          </p:nvSpPr>
          <p:spPr>
            <a:xfrm>
              <a:off x="2023299" y="4445676"/>
              <a:ext cx="1042707" cy="282822"/>
            </a:xfrm>
            <a:prstGeom prst="ellipse">
              <a:avLst/>
            </a:prstGeom>
            <a:gradFill flip="none" rotWithShape="1">
              <a:gsLst>
                <a:gs pos="97000">
                  <a:sysClr val="windowText" lastClr="000000">
                    <a:alpha val="0"/>
                  </a:sysClr>
                </a:gs>
                <a:gs pos="0">
                  <a:sysClr val="windowText" lastClr="000000">
                    <a:alpha val="54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" name="椭圆 16"/>
            <p:cNvSpPr/>
            <p:nvPr/>
          </p:nvSpPr>
          <p:spPr>
            <a:xfrm>
              <a:off x="980592" y="4601888"/>
              <a:ext cx="1042707" cy="282822"/>
            </a:xfrm>
            <a:prstGeom prst="ellipse">
              <a:avLst/>
            </a:prstGeom>
            <a:gradFill flip="none" rotWithShape="1">
              <a:gsLst>
                <a:gs pos="97000">
                  <a:sysClr val="windowText" lastClr="000000">
                    <a:alpha val="0"/>
                  </a:sysClr>
                </a:gs>
                <a:gs pos="0">
                  <a:sysClr val="windowText" lastClr="000000">
                    <a:alpha val="54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" name="椭圆 16"/>
            <p:cNvSpPr/>
            <p:nvPr/>
          </p:nvSpPr>
          <p:spPr>
            <a:xfrm>
              <a:off x="2864689" y="4665192"/>
              <a:ext cx="1042707" cy="282822"/>
            </a:xfrm>
            <a:prstGeom prst="ellipse">
              <a:avLst/>
            </a:prstGeom>
            <a:gradFill flip="none" rotWithShape="1">
              <a:gsLst>
                <a:gs pos="97000">
                  <a:sysClr val="windowText" lastClr="000000">
                    <a:alpha val="0"/>
                  </a:sysClr>
                </a:gs>
                <a:gs pos="0">
                  <a:sysClr val="windowText" lastClr="000000">
                    <a:alpha val="54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6" name="圓柱 46"/>
            <p:cNvSpPr/>
            <p:nvPr/>
          </p:nvSpPr>
          <p:spPr>
            <a:xfrm rot="20820000">
              <a:off x="3047383" y="3514367"/>
              <a:ext cx="164620" cy="1316957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  <a:scene3d>
              <a:camera prst="orthographicFront">
                <a:rot lat="0" lon="0" rev="900000"/>
              </a:camera>
              <a:lightRig rig="threePt" dir="t"/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7" name="圓柱 45"/>
            <p:cNvSpPr/>
            <p:nvPr/>
          </p:nvSpPr>
          <p:spPr>
            <a:xfrm rot="480000">
              <a:off x="2509059" y="4046705"/>
              <a:ext cx="137183" cy="521296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  <a:scene3d>
              <a:camera prst="orthographicFront">
                <a:rot lat="0" lon="0" rev="900000"/>
              </a:camera>
              <a:lightRig rig="threePt" dir="t"/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8" name="圓柱 44"/>
            <p:cNvSpPr/>
            <p:nvPr/>
          </p:nvSpPr>
          <p:spPr>
            <a:xfrm>
              <a:off x="1611719" y="3951847"/>
              <a:ext cx="137183" cy="768225"/>
            </a:xfrm>
            <a:prstGeom prst="can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  <a:scene3d>
              <a:camera prst="orthographicFront">
                <a:rot lat="0" lon="0" rev="20099999"/>
              </a:camera>
              <a:lightRig rig="threePt" dir="t"/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grpSp>
          <p:nvGrpSpPr>
            <p:cNvPr id="9" name="群組 4"/>
            <p:cNvGrpSpPr>
              <a:grpSpLocks noChangeAspect="1"/>
            </p:cNvGrpSpPr>
            <p:nvPr/>
          </p:nvGrpSpPr>
          <p:grpSpPr>
            <a:xfrm>
              <a:off x="813320" y="1355531"/>
              <a:ext cx="2636841" cy="2636841"/>
              <a:chOff x="3578289" y="1565433"/>
              <a:chExt cx="3295086" cy="3295086"/>
            </a:xfrm>
            <a:scene3d>
              <a:camera prst="perspectiveContrastingLeftFacing">
                <a:rot lat="332029" lon="2706886" rev="20796564"/>
              </a:camera>
              <a:lightRig rig="threePt" dir="t">
                <a:rot lat="0" lon="0" rev="2400000"/>
              </a:lightRig>
            </a:scene3d>
          </p:grpSpPr>
          <p:sp>
            <p:nvSpPr>
              <p:cNvPr id="10" name="橢圓 2"/>
              <p:cNvSpPr>
                <a:spLocks noChangeAspect="1"/>
              </p:cNvSpPr>
              <p:nvPr/>
            </p:nvSpPr>
            <p:spPr>
              <a:xfrm>
                <a:off x="3578289" y="1565433"/>
                <a:ext cx="3295086" cy="3295086"/>
              </a:xfrm>
              <a:prstGeom prst="ellipse">
                <a:avLst/>
              </a:prstGeom>
              <a:gradFill flip="none" rotWithShape="1">
                <a:gsLst>
                  <a:gs pos="0">
                    <a:srgbClr val="FF0000"/>
                  </a:gs>
                  <a:gs pos="10000">
                    <a:srgbClr val="FF0000"/>
                  </a:gs>
                  <a:gs pos="11000">
                    <a:schemeClr val="bg1"/>
                  </a:gs>
                  <a:gs pos="20000">
                    <a:schemeClr val="bg1"/>
                  </a:gs>
                  <a:gs pos="21000">
                    <a:srgbClr val="FF0000"/>
                  </a:gs>
                  <a:gs pos="30000">
                    <a:srgbClr val="FF0000"/>
                  </a:gs>
                  <a:gs pos="31000">
                    <a:schemeClr val="bg1"/>
                  </a:gs>
                  <a:gs pos="40000">
                    <a:schemeClr val="bg1"/>
                  </a:gs>
                  <a:gs pos="41000">
                    <a:srgbClr val="FF0000"/>
                  </a:gs>
                  <a:gs pos="100000">
                    <a:srgbClr val="FF0000"/>
                  </a:gs>
                </a:gsLst>
                <a:path path="circle">
                  <a:fillToRect l="50000" t="50000" r="50000" b="50000"/>
                </a:path>
                <a:tileRect/>
              </a:gradFill>
              <a:ln w="304800">
                <a:solidFill>
                  <a:srgbClr val="FF0000"/>
                </a:solidFill>
              </a:ln>
              <a:sp3d>
                <a:bevelT w="0" h="298450" prst="coolSlant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  <p:sp>
            <p:nvSpPr>
              <p:cNvPr id="11" name="橢圓 3"/>
              <p:cNvSpPr>
                <a:spLocks noChangeAspect="1"/>
              </p:cNvSpPr>
              <p:nvPr/>
            </p:nvSpPr>
            <p:spPr>
              <a:xfrm>
                <a:off x="3578289" y="1565433"/>
                <a:ext cx="3295086" cy="3295086"/>
              </a:xfrm>
              <a:prstGeom prst="ellipse">
                <a:avLst/>
              </a:prstGeom>
              <a:gradFill flip="none" rotWithShape="1">
                <a:gsLst>
                  <a:gs pos="0">
                    <a:srgbClr val="FF0000">
                      <a:alpha val="0"/>
                    </a:srgbClr>
                  </a:gs>
                  <a:gs pos="50000">
                    <a:schemeClr val="bg1">
                      <a:alpha val="0"/>
                    </a:schemeClr>
                  </a:gs>
                  <a:gs pos="51000">
                    <a:schemeClr val="bg1"/>
                  </a:gs>
                  <a:gs pos="6000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 w="304800">
                <a:solidFill>
                  <a:srgbClr val="FF0000"/>
                </a:solidFill>
              </a:ln>
              <a:sp3d>
                <a:bevelT w="0" h="298450" prst="coolSlant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/>
              </a:p>
            </p:txBody>
          </p:sp>
        </p:grpSp>
      </p:grpSp>
      <p:grpSp>
        <p:nvGrpSpPr>
          <p:cNvPr id="12" name="群組 14"/>
          <p:cNvGrpSpPr/>
          <p:nvPr/>
        </p:nvGrpSpPr>
        <p:grpSpPr>
          <a:xfrm>
            <a:off x="467544" y="2062475"/>
            <a:ext cx="1555755" cy="558327"/>
            <a:chOff x="5688232" y="5517232"/>
            <a:chExt cx="2268144" cy="947844"/>
          </a:xfrm>
        </p:grpSpPr>
        <p:sp>
          <p:nvSpPr>
            <p:cNvPr id="13" name="矩形 12"/>
            <p:cNvSpPr/>
            <p:nvPr/>
          </p:nvSpPr>
          <p:spPr>
            <a:xfrm>
              <a:off x="7488376" y="6003292"/>
              <a:ext cx="468000" cy="36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4" name="矩形 13"/>
            <p:cNvSpPr/>
            <p:nvPr/>
          </p:nvSpPr>
          <p:spPr>
            <a:xfrm>
              <a:off x="7308376" y="5949292"/>
              <a:ext cx="180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5" name="矩形 14"/>
            <p:cNvSpPr/>
            <p:nvPr/>
          </p:nvSpPr>
          <p:spPr>
            <a:xfrm>
              <a:off x="5688304" y="5949292"/>
              <a:ext cx="1620000" cy="144000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85000"/>
                    <a:lumOff val="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50000">
                  <a:schemeClr val="tx1">
                    <a:lumMod val="85000"/>
                    <a:lumOff val="1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6" name="套索 12"/>
            <p:cNvSpPr/>
            <p:nvPr/>
          </p:nvSpPr>
          <p:spPr>
            <a:xfrm>
              <a:off x="5688304" y="5517232"/>
              <a:ext cx="972000" cy="79200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tx1">
                    <a:lumMod val="85000"/>
                    <a:lumOff val="15000"/>
                  </a:schemeClr>
                </a:gs>
                <a:gs pos="5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7" name="套索 11"/>
            <p:cNvSpPr/>
            <p:nvPr/>
          </p:nvSpPr>
          <p:spPr>
            <a:xfrm>
              <a:off x="5688304" y="5676238"/>
              <a:ext cx="972000" cy="50406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tx1">
                    <a:lumMod val="85000"/>
                    <a:lumOff val="15000"/>
                  </a:schemeClr>
                </a:gs>
                <a:gs pos="50000">
                  <a:schemeClr val="tx1">
                    <a:lumMod val="65000"/>
                    <a:lumOff val="3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18" name="套索 13"/>
            <p:cNvSpPr/>
            <p:nvPr/>
          </p:nvSpPr>
          <p:spPr>
            <a:xfrm flipV="1">
              <a:off x="5688232" y="5745076"/>
              <a:ext cx="972000" cy="72000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tx1">
                    <a:lumMod val="85000"/>
                    <a:lumOff val="15000"/>
                  </a:schemeClr>
                </a:gs>
                <a:gs pos="5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19" name="群組 15"/>
          <p:cNvGrpSpPr>
            <a:grpSpLocks noChangeAspect="1"/>
          </p:cNvGrpSpPr>
          <p:nvPr/>
        </p:nvGrpSpPr>
        <p:grpSpPr>
          <a:xfrm rot="19014400">
            <a:off x="940702" y="3177758"/>
            <a:ext cx="936287" cy="387739"/>
            <a:chOff x="5681358" y="5382164"/>
            <a:chExt cx="2275034" cy="1097067"/>
          </a:xfrm>
        </p:grpSpPr>
        <p:sp>
          <p:nvSpPr>
            <p:cNvPr id="20" name="矩形 19"/>
            <p:cNvSpPr/>
            <p:nvPr/>
          </p:nvSpPr>
          <p:spPr>
            <a:xfrm>
              <a:off x="7488391" y="6003247"/>
              <a:ext cx="468001" cy="3600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7308388" y="5949245"/>
              <a:ext cx="180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2" name="矩形 21"/>
            <p:cNvSpPr/>
            <p:nvPr/>
          </p:nvSpPr>
          <p:spPr>
            <a:xfrm>
              <a:off x="5688312" y="5949245"/>
              <a:ext cx="1620001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5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3" name="套索 19"/>
            <p:cNvSpPr/>
            <p:nvPr/>
          </p:nvSpPr>
          <p:spPr>
            <a:xfrm>
              <a:off x="5681358" y="5382164"/>
              <a:ext cx="972001" cy="931549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4" name="套索 20"/>
            <p:cNvSpPr/>
            <p:nvPr/>
          </p:nvSpPr>
          <p:spPr>
            <a:xfrm>
              <a:off x="5688317" y="5676193"/>
              <a:ext cx="972002" cy="504058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5" name="套索 21"/>
            <p:cNvSpPr/>
            <p:nvPr/>
          </p:nvSpPr>
          <p:spPr>
            <a:xfrm flipV="1">
              <a:off x="5686773" y="5702940"/>
              <a:ext cx="972001" cy="776291"/>
            </a:xfrm>
            <a:prstGeom prst="chord">
              <a:avLst>
                <a:gd name="adj1" fmla="val 1031047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26" name="群組 22"/>
          <p:cNvGrpSpPr>
            <a:grpSpLocks noChangeAspect="1"/>
          </p:cNvGrpSpPr>
          <p:nvPr/>
        </p:nvGrpSpPr>
        <p:grpSpPr>
          <a:xfrm rot="1928577">
            <a:off x="831792" y="1511496"/>
            <a:ext cx="933453" cy="338367"/>
            <a:chOff x="5688232" y="5517232"/>
            <a:chExt cx="2268144" cy="957380"/>
          </a:xfrm>
        </p:grpSpPr>
        <p:sp>
          <p:nvSpPr>
            <p:cNvPr id="27" name="矩形 26"/>
            <p:cNvSpPr/>
            <p:nvPr/>
          </p:nvSpPr>
          <p:spPr>
            <a:xfrm>
              <a:off x="7488376" y="6003292"/>
              <a:ext cx="468000" cy="36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8" name="矩形 27"/>
            <p:cNvSpPr/>
            <p:nvPr/>
          </p:nvSpPr>
          <p:spPr>
            <a:xfrm>
              <a:off x="7308376" y="5949292"/>
              <a:ext cx="180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29" name="矩形 28"/>
            <p:cNvSpPr/>
            <p:nvPr/>
          </p:nvSpPr>
          <p:spPr>
            <a:xfrm>
              <a:off x="5688304" y="5949292"/>
              <a:ext cx="1620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5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0" name="套索 26"/>
            <p:cNvSpPr/>
            <p:nvPr/>
          </p:nvSpPr>
          <p:spPr>
            <a:xfrm>
              <a:off x="5688304" y="5517232"/>
              <a:ext cx="972000" cy="79200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1" name="套索 27"/>
            <p:cNvSpPr/>
            <p:nvPr/>
          </p:nvSpPr>
          <p:spPr>
            <a:xfrm>
              <a:off x="5688304" y="5676238"/>
              <a:ext cx="972000" cy="50406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2" name="套索 28"/>
            <p:cNvSpPr/>
            <p:nvPr/>
          </p:nvSpPr>
          <p:spPr>
            <a:xfrm flipV="1">
              <a:off x="5688232" y="5754612"/>
              <a:ext cx="972000" cy="720000"/>
            </a:xfrm>
            <a:prstGeom prst="chord">
              <a:avLst>
                <a:gd name="adj1" fmla="val 1031047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33" name="群組 29"/>
          <p:cNvGrpSpPr>
            <a:grpSpLocks noChangeAspect="1"/>
          </p:cNvGrpSpPr>
          <p:nvPr/>
        </p:nvGrpSpPr>
        <p:grpSpPr>
          <a:xfrm rot="4560307">
            <a:off x="1587220" y="1075998"/>
            <a:ext cx="933453" cy="338366"/>
            <a:chOff x="5688232" y="5517232"/>
            <a:chExt cx="2268144" cy="957380"/>
          </a:xfrm>
        </p:grpSpPr>
        <p:sp>
          <p:nvSpPr>
            <p:cNvPr id="34" name="矩形 33"/>
            <p:cNvSpPr/>
            <p:nvPr/>
          </p:nvSpPr>
          <p:spPr>
            <a:xfrm>
              <a:off x="7488376" y="6003292"/>
              <a:ext cx="468000" cy="36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5" name="矩形 34"/>
            <p:cNvSpPr/>
            <p:nvPr/>
          </p:nvSpPr>
          <p:spPr>
            <a:xfrm>
              <a:off x="7308376" y="5949292"/>
              <a:ext cx="180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95000"/>
                  </a:schemeClr>
                </a:gs>
                <a:gs pos="5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6" name="矩形 35"/>
            <p:cNvSpPr/>
            <p:nvPr/>
          </p:nvSpPr>
          <p:spPr>
            <a:xfrm>
              <a:off x="5688304" y="5949292"/>
              <a:ext cx="1620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50000">
                  <a:schemeClr val="bg1">
                    <a:lumMod val="5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7" name="套索 33"/>
            <p:cNvSpPr/>
            <p:nvPr/>
          </p:nvSpPr>
          <p:spPr>
            <a:xfrm>
              <a:off x="5688304" y="5517232"/>
              <a:ext cx="972000" cy="79200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8" name="套索 34"/>
            <p:cNvSpPr/>
            <p:nvPr/>
          </p:nvSpPr>
          <p:spPr>
            <a:xfrm>
              <a:off x="5688304" y="5676238"/>
              <a:ext cx="972000" cy="504060"/>
            </a:xfrm>
            <a:prstGeom prst="chord">
              <a:avLst>
                <a:gd name="adj1" fmla="val 1048965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  <p:sp>
          <p:nvSpPr>
            <p:cNvPr id="39" name="套索 35"/>
            <p:cNvSpPr/>
            <p:nvPr/>
          </p:nvSpPr>
          <p:spPr>
            <a:xfrm flipV="1">
              <a:off x="5688232" y="5754612"/>
              <a:ext cx="972000" cy="720000"/>
            </a:xfrm>
            <a:prstGeom prst="chord">
              <a:avLst>
                <a:gd name="adj1" fmla="val 10310472"/>
                <a:gd name="adj2" fmla="val 370006"/>
              </a:avLst>
            </a:prstGeom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6200000" scaled="1"/>
              <a:tileRect/>
            </a:gradFill>
            <a:ln w="3175">
              <a:noFill/>
              <a:prstDash val="soli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/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3995936" y="843558"/>
            <a:ext cx="4752528" cy="1080120"/>
            <a:chOff x="3347864" y="1152444"/>
            <a:chExt cx="4752528" cy="1080120"/>
          </a:xfrm>
        </p:grpSpPr>
        <p:sp>
          <p:nvSpPr>
            <p:cNvPr id="64" name="矩形 63"/>
            <p:cNvSpPr/>
            <p:nvPr/>
          </p:nvSpPr>
          <p:spPr>
            <a:xfrm>
              <a:off x="3347864" y="1152444"/>
              <a:ext cx="4752528" cy="267178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填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</a:t>
              </a:r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标题</a:t>
              </a:r>
              <a:endPara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3347864" y="1419622"/>
              <a:ext cx="4752528" cy="8129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内容</a:t>
              </a:r>
              <a:endParaRPr lang="en-US" altLang="zh-CN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此处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内容</a:t>
              </a:r>
              <a:endParaRPr lang="en-US" altLang="zh-CN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此处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内容</a:t>
              </a:r>
              <a:endParaRPr lang="zh-CN" altLang="en-US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3995936" y="2096970"/>
            <a:ext cx="4752528" cy="1080120"/>
            <a:chOff x="3347864" y="1152444"/>
            <a:chExt cx="4752528" cy="1080120"/>
          </a:xfrm>
        </p:grpSpPr>
        <p:sp>
          <p:nvSpPr>
            <p:cNvPr id="67" name="矩形 66"/>
            <p:cNvSpPr/>
            <p:nvPr/>
          </p:nvSpPr>
          <p:spPr>
            <a:xfrm>
              <a:off x="3347864" y="1152444"/>
              <a:ext cx="4752528" cy="267178"/>
            </a:xfrm>
            <a:prstGeom prst="rect">
              <a:avLst/>
            </a:prstGeom>
            <a:solidFill>
              <a:srgbClr val="F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填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</a:t>
              </a:r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标题</a:t>
              </a:r>
              <a:endPara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3347864" y="1419622"/>
              <a:ext cx="4752528" cy="8129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内容</a:t>
              </a:r>
              <a:endParaRPr lang="en-US" altLang="zh-CN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此处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内容</a:t>
              </a:r>
              <a:endParaRPr lang="en-US" altLang="zh-CN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此处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内容</a:t>
              </a:r>
              <a:endParaRPr lang="zh-CN" altLang="en-US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3995936" y="3357786"/>
            <a:ext cx="4752528" cy="1080120"/>
            <a:chOff x="3347864" y="1152444"/>
            <a:chExt cx="4752528" cy="1080120"/>
          </a:xfrm>
        </p:grpSpPr>
        <p:sp>
          <p:nvSpPr>
            <p:cNvPr id="70" name="矩形 69"/>
            <p:cNvSpPr/>
            <p:nvPr/>
          </p:nvSpPr>
          <p:spPr>
            <a:xfrm>
              <a:off x="3347864" y="1152444"/>
              <a:ext cx="4752528" cy="26717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填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</a:t>
              </a:r>
              <a:r>
                <a:rPr lang="zh-CN" altLang="en-US" sz="1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标题</a:t>
              </a:r>
              <a:endPara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3347864" y="1419622"/>
              <a:ext cx="4752528" cy="8129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内容</a:t>
              </a:r>
              <a:endParaRPr lang="en-US" altLang="zh-CN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此处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内容</a:t>
              </a:r>
              <a:endParaRPr lang="en-US" altLang="zh-CN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marL="228600" indent="-228600" defTabSz="685800">
                <a:lnSpc>
                  <a:spcPct val="70000"/>
                </a:lnSpc>
                <a:spcBef>
                  <a:spcPts val="675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此处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填</a:t>
              </a:r>
              <a:r>
                <a:rPr lang="zh-CN" altLang="en-US" sz="1200" dirty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加文字</a:t>
              </a:r>
              <a:r>
                <a:rPr lang="zh-CN" altLang="en-US" sz="1200" dirty="0" smtClean="0"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内容</a:t>
              </a:r>
              <a:endParaRPr lang="zh-CN" altLang="en-US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100" advClick="0" advTm="1000">
        <p14:switch dir="r"/>
      </p:transition>
    </mc:Choice>
    <mc:Fallback>
      <p:transition spd="slow" advClick="0" advTm="1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2"/>
          <p:cNvSpPr>
            <a:spLocks noChangeArrowheads="1"/>
          </p:cNvSpPr>
          <p:nvPr/>
        </p:nvSpPr>
        <p:spPr bwMode="auto">
          <a:xfrm>
            <a:off x="3129056" y="1222832"/>
            <a:ext cx="4770703" cy="687669"/>
          </a:xfrm>
          <a:prstGeom prst="rect">
            <a:avLst/>
          </a:prstGeom>
          <a:gradFill rotWithShape="1">
            <a:gsLst>
              <a:gs pos="0">
                <a:srgbClr val="FFC000"/>
              </a:gs>
              <a:gs pos="100000">
                <a:srgbClr val="762F00">
                  <a:alpha val="0"/>
                </a:srgbClr>
              </a:gs>
            </a:gsLst>
            <a:lin ang="0" scaled="1"/>
          </a:gradFill>
          <a:ln>
            <a:noFill/>
          </a:ln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1" name="Rectangle 3"/>
          <p:cNvSpPr>
            <a:spLocks noChangeArrowheads="1"/>
          </p:cNvSpPr>
          <p:nvPr/>
        </p:nvSpPr>
        <p:spPr bwMode="auto">
          <a:xfrm>
            <a:off x="4594145" y="3371798"/>
            <a:ext cx="3305614" cy="960714"/>
          </a:xfrm>
          <a:prstGeom prst="rect">
            <a:avLst/>
          </a:prstGeom>
          <a:gradFill rotWithShape="1">
            <a:gsLst>
              <a:gs pos="0">
                <a:srgbClr val="DE0000"/>
              </a:gs>
              <a:gs pos="100000">
                <a:srgbClr val="004747">
                  <a:alpha val="0"/>
                </a:srgbClr>
              </a:gs>
            </a:gsLst>
            <a:lin ang="0" scaled="1"/>
          </a:gradFill>
          <a:ln>
            <a:noFill/>
          </a:ln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2" name="Rectangle 4"/>
          <p:cNvSpPr>
            <a:spLocks noChangeArrowheads="1"/>
          </p:cNvSpPr>
          <p:nvPr/>
        </p:nvSpPr>
        <p:spPr bwMode="auto">
          <a:xfrm>
            <a:off x="3525982" y="1910501"/>
            <a:ext cx="4373777" cy="742026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rgbClr val="5E4700">
                  <a:alpha val="0"/>
                </a:srgbClr>
              </a:gs>
            </a:gsLst>
            <a:lin ang="0" scaled="1"/>
          </a:gradFill>
          <a:ln>
            <a:noFill/>
          </a:ln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3" name="Rectangle 5"/>
          <p:cNvSpPr>
            <a:spLocks noChangeArrowheads="1"/>
          </p:cNvSpPr>
          <p:nvPr/>
        </p:nvSpPr>
        <p:spPr bwMode="auto">
          <a:xfrm>
            <a:off x="4005075" y="2652527"/>
            <a:ext cx="3894684" cy="720536"/>
          </a:xfrm>
          <a:prstGeom prst="rect">
            <a:avLst/>
          </a:prstGeom>
          <a:gradFill rotWithShape="1">
            <a:gsLst>
              <a:gs pos="0">
                <a:srgbClr val="DE0000"/>
              </a:gs>
              <a:gs pos="100000">
                <a:srgbClr val="5E7618">
                  <a:alpha val="0"/>
                </a:srgbClr>
              </a:gs>
            </a:gsLst>
            <a:lin ang="0" scaled="1"/>
          </a:gradFill>
          <a:ln>
            <a:noFill/>
          </a:ln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4" name="Line 6"/>
          <p:cNvSpPr>
            <a:spLocks noChangeShapeType="1"/>
          </p:cNvSpPr>
          <p:nvPr/>
        </p:nvSpPr>
        <p:spPr bwMode="auto">
          <a:xfrm>
            <a:off x="3393252" y="1910501"/>
            <a:ext cx="4506507" cy="0"/>
          </a:xfrm>
          <a:prstGeom prst="line">
            <a:avLst/>
          </a:prstGeom>
          <a:noFill/>
          <a:ln w="12700">
            <a:solidFill>
              <a:srgbClr val="FFFFFF">
                <a:alpha val="50195"/>
              </a:srgbClr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5" name="Line 7"/>
          <p:cNvSpPr>
            <a:spLocks noChangeShapeType="1"/>
          </p:cNvSpPr>
          <p:nvPr/>
        </p:nvSpPr>
        <p:spPr bwMode="auto">
          <a:xfrm>
            <a:off x="4005075" y="2652527"/>
            <a:ext cx="3894684" cy="0"/>
          </a:xfrm>
          <a:prstGeom prst="line">
            <a:avLst/>
          </a:prstGeom>
          <a:noFill/>
          <a:ln w="12700">
            <a:solidFill>
              <a:srgbClr val="FFFFFF">
                <a:alpha val="50195"/>
              </a:srgbClr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6" name="Line 8"/>
          <p:cNvSpPr>
            <a:spLocks noChangeShapeType="1"/>
          </p:cNvSpPr>
          <p:nvPr/>
        </p:nvSpPr>
        <p:spPr bwMode="auto">
          <a:xfrm>
            <a:off x="4474055" y="3373063"/>
            <a:ext cx="3425704" cy="0"/>
          </a:xfrm>
          <a:prstGeom prst="line">
            <a:avLst/>
          </a:prstGeom>
          <a:noFill/>
          <a:ln w="12700">
            <a:solidFill>
              <a:srgbClr val="FFFFFF">
                <a:alpha val="50195"/>
              </a:srgbClr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sp>
        <p:nvSpPr>
          <p:cNvPr id="47" name="Line 9"/>
          <p:cNvSpPr>
            <a:spLocks noChangeShapeType="1"/>
          </p:cNvSpPr>
          <p:nvPr/>
        </p:nvSpPr>
        <p:spPr bwMode="auto">
          <a:xfrm>
            <a:off x="1466768" y="4332512"/>
            <a:ext cx="6432991" cy="0"/>
          </a:xfrm>
          <a:prstGeom prst="line">
            <a:avLst/>
          </a:prstGeom>
          <a:noFill/>
          <a:ln w="12700">
            <a:solidFill>
              <a:srgbClr val="FFFFFF">
                <a:alpha val="50195"/>
              </a:srgbClr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53" name="Group 15"/>
          <p:cNvGrpSpPr/>
          <p:nvPr/>
        </p:nvGrpSpPr>
        <p:grpSpPr bwMode="auto">
          <a:xfrm>
            <a:off x="1466768" y="3137512"/>
            <a:ext cx="3725294" cy="1198793"/>
            <a:chOff x="61" y="3086"/>
            <a:chExt cx="2912" cy="963"/>
          </a:xfrm>
        </p:grpSpPr>
        <p:sp>
          <p:nvSpPr>
            <p:cNvPr id="69" name="Freeform 16"/>
            <p:cNvSpPr/>
            <p:nvPr/>
          </p:nvSpPr>
          <p:spPr bwMode="gray">
            <a:xfrm>
              <a:off x="351" y="3086"/>
              <a:ext cx="2242" cy="346"/>
            </a:xfrm>
            <a:custGeom>
              <a:avLst/>
              <a:gdLst>
                <a:gd name="T0" fmla="*/ 0 w 2208"/>
                <a:gd name="T1" fmla="*/ 298 h 303"/>
                <a:gd name="T2" fmla="*/ 1979 w 2208"/>
                <a:gd name="T3" fmla="*/ 302 h 303"/>
                <a:gd name="T4" fmla="*/ 2207 w 2208"/>
                <a:gd name="T5" fmla="*/ 0 h 303"/>
                <a:gd name="T6" fmla="*/ 690 w 2208"/>
                <a:gd name="T7" fmla="*/ 28 h 303"/>
                <a:gd name="T8" fmla="*/ 0 w 2208"/>
                <a:gd name="T9" fmla="*/ 298 h 3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8"/>
                <a:gd name="T16" fmla="*/ 0 h 303"/>
                <a:gd name="T17" fmla="*/ 2208 w 2208"/>
                <a:gd name="T18" fmla="*/ 303 h 3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8" h="303">
                  <a:moveTo>
                    <a:pt x="0" y="298"/>
                  </a:moveTo>
                  <a:lnTo>
                    <a:pt x="1979" y="302"/>
                  </a:lnTo>
                  <a:lnTo>
                    <a:pt x="2207" y="0"/>
                  </a:lnTo>
                  <a:lnTo>
                    <a:pt x="690" y="28"/>
                  </a:lnTo>
                  <a:lnTo>
                    <a:pt x="0" y="298"/>
                  </a:lnTo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0" name="Freeform 17"/>
            <p:cNvSpPr/>
            <p:nvPr/>
          </p:nvSpPr>
          <p:spPr bwMode="gray">
            <a:xfrm>
              <a:off x="61" y="3429"/>
              <a:ext cx="2597" cy="617"/>
            </a:xfrm>
            <a:custGeom>
              <a:avLst/>
              <a:gdLst>
                <a:gd name="T0" fmla="*/ 0 w 2557"/>
                <a:gd name="T1" fmla="*/ 537 h 538"/>
                <a:gd name="T2" fmla="*/ 2556 w 2557"/>
                <a:gd name="T3" fmla="*/ 536 h 538"/>
                <a:gd name="T4" fmla="*/ 2262 w 2557"/>
                <a:gd name="T5" fmla="*/ 1 h 538"/>
                <a:gd name="T6" fmla="*/ 288 w 2557"/>
                <a:gd name="T7" fmla="*/ 0 h 538"/>
                <a:gd name="T8" fmla="*/ 0 w 2557"/>
                <a:gd name="T9" fmla="*/ 537 h 5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57"/>
                <a:gd name="T16" fmla="*/ 0 h 538"/>
                <a:gd name="T17" fmla="*/ 2557 w 2557"/>
                <a:gd name="T18" fmla="*/ 538 h 5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57" h="538">
                  <a:moveTo>
                    <a:pt x="0" y="537"/>
                  </a:moveTo>
                  <a:lnTo>
                    <a:pt x="2556" y="536"/>
                  </a:lnTo>
                  <a:lnTo>
                    <a:pt x="2262" y="1"/>
                  </a:lnTo>
                  <a:lnTo>
                    <a:pt x="288" y="0"/>
                  </a:lnTo>
                  <a:lnTo>
                    <a:pt x="0" y="537"/>
                  </a:lnTo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1" name="Freeform 18"/>
            <p:cNvSpPr/>
            <p:nvPr/>
          </p:nvSpPr>
          <p:spPr bwMode="gray">
            <a:xfrm>
              <a:off x="2352" y="3092"/>
              <a:ext cx="621" cy="957"/>
            </a:xfrm>
            <a:custGeom>
              <a:avLst/>
              <a:gdLst>
                <a:gd name="T0" fmla="*/ 302 w 612"/>
                <a:gd name="T1" fmla="*/ 835 h 836"/>
                <a:gd name="T2" fmla="*/ 611 w 612"/>
                <a:gd name="T3" fmla="*/ 476 h 836"/>
                <a:gd name="T4" fmla="*/ 226 w 612"/>
                <a:gd name="T5" fmla="*/ 0 h 836"/>
                <a:gd name="T6" fmla="*/ 0 w 612"/>
                <a:gd name="T7" fmla="*/ 302 h 836"/>
                <a:gd name="T8" fmla="*/ 302 w 612"/>
                <a:gd name="T9" fmla="*/ 835 h 8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12"/>
                <a:gd name="T16" fmla="*/ 0 h 836"/>
                <a:gd name="T17" fmla="*/ 612 w 612"/>
                <a:gd name="T18" fmla="*/ 836 h 8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12" h="836">
                  <a:moveTo>
                    <a:pt x="302" y="835"/>
                  </a:moveTo>
                  <a:lnTo>
                    <a:pt x="611" y="476"/>
                  </a:lnTo>
                  <a:lnTo>
                    <a:pt x="226" y="0"/>
                  </a:lnTo>
                  <a:lnTo>
                    <a:pt x="0" y="302"/>
                  </a:lnTo>
                  <a:lnTo>
                    <a:pt x="302" y="835"/>
                  </a:lnTo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4" name="Group 19"/>
          <p:cNvGrpSpPr/>
          <p:nvPr/>
        </p:nvGrpSpPr>
        <p:grpSpPr bwMode="auto">
          <a:xfrm>
            <a:off x="1866621" y="2501054"/>
            <a:ext cx="2772312" cy="951721"/>
            <a:chOff x="305" y="2403"/>
            <a:chExt cx="2912" cy="963"/>
          </a:xfrm>
        </p:grpSpPr>
        <p:sp>
          <p:nvSpPr>
            <p:cNvPr id="66" name="Freeform 20"/>
            <p:cNvSpPr/>
            <p:nvPr/>
          </p:nvSpPr>
          <p:spPr bwMode="gray">
            <a:xfrm>
              <a:off x="595" y="2403"/>
              <a:ext cx="2242" cy="346"/>
            </a:xfrm>
            <a:custGeom>
              <a:avLst/>
              <a:gdLst>
                <a:gd name="T0" fmla="*/ 0 w 2208"/>
                <a:gd name="T1" fmla="*/ 298 h 303"/>
                <a:gd name="T2" fmla="*/ 1979 w 2208"/>
                <a:gd name="T3" fmla="*/ 302 h 303"/>
                <a:gd name="T4" fmla="*/ 2207 w 2208"/>
                <a:gd name="T5" fmla="*/ 0 h 303"/>
                <a:gd name="T6" fmla="*/ 690 w 2208"/>
                <a:gd name="T7" fmla="*/ 28 h 303"/>
                <a:gd name="T8" fmla="*/ 0 w 2208"/>
                <a:gd name="T9" fmla="*/ 298 h 3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8"/>
                <a:gd name="T16" fmla="*/ 0 h 303"/>
                <a:gd name="T17" fmla="*/ 2208 w 2208"/>
                <a:gd name="T18" fmla="*/ 303 h 3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8" h="303">
                  <a:moveTo>
                    <a:pt x="0" y="298"/>
                  </a:moveTo>
                  <a:lnTo>
                    <a:pt x="1979" y="302"/>
                  </a:lnTo>
                  <a:lnTo>
                    <a:pt x="2207" y="0"/>
                  </a:lnTo>
                  <a:lnTo>
                    <a:pt x="690" y="28"/>
                  </a:lnTo>
                  <a:lnTo>
                    <a:pt x="0" y="298"/>
                  </a:lnTo>
                </a:path>
              </a:pathLst>
            </a:custGeom>
            <a:solidFill>
              <a:srgbClr val="DE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7" name="Freeform 21"/>
            <p:cNvSpPr/>
            <p:nvPr/>
          </p:nvSpPr>
          <p:spPr bwMode="gray">
            <a:xfrm>
              <a:off x="305" y="2746"/>
              <a:ext cx="2597" cy="617"/>
            </a:xfrm>
            <a:custGeom>
              <a:avLst/>
              <a:gdLst>
                <a:gd name="T0" fmla="*/ 0 w 2557"/>
                <a:gd name="T1" fmla="*/ 537 h 538"/>
                <a:gd name="T2" fmla="*/ 2556 w 2557"/>
                <a:gd name="T3" fmla="*/ 536 h 538"/>
                <a:gd name="T4" fmla="*/ 2262 w 2557"/>
                <a:gd name="T5" fmla="*/ 1 h 538"/>
                <a:gd name="T6" fmla="*/ 288 w 2557"/>
                <a:gd name="T7" fmla="*/ 0 h 538"/>
                <a:gd name="T8" fmla="*/ 0 w 2557"/>
                <a:gd name="T9" fmla="*/ 537 h 5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57"/>
                <a:gd name="T16" fmla="*/ 0 h 538"/>
                <a:gd name="T17" fmla="*/ 2557 w 2557"/>
                <a:gd name="T18" fmla="*/ 538 h 5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57" h="538">
                  <a:moveTo>
                    <a:pt x="0" y="537"/>
                  </a:moveTo>
                  <a:lnTo>
                    <a:pt x="2556" y="536"/>
                  </a:lnTo>
                  <a:lnTo>
                    <a:pt x="2262" y="1"/>
                  </a:lnTo>
                  <a:lnTo>
                    <a:pt x="288" y="0"/>
                  </a:lnTo>
                  <a:lnTo>
                    <a:pt x="0" y="537"/>
                  </a:lnTo>
                </a:path>
              </a:pathLst>
            </a:custGeom>
            <a:gradFill flip="none" rotWithShape="1">
              <a:gsLst>
                <a:gs pos="0">
                  <a:srgbClr val="DE0000">
                    <a:shade val="30000"/>
                    <a:satMod val="115000"/>
                  </a:srgbClr>
                </a:gs>
                <a:gs pos="50000">
                  <a:srgbClr val="DE0000">
                    <a:shade val="67500"/>
                    <a:satMod val="115000"/>
                  </a:srgbClr>
                </a:gs>
                <a:gs pos="100000">
                  <a:srgbClr val="DE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8" name="Freeform 22"/>
            <p:cNvSpPr/>
            <p:nvPr/>
          </p:nvSpPr>
          <p:spPr bwMode="gray">
            <a:xfrm>
              <a:off x="2596" y="2409"/>
              <a:ext cx="621" cy="957"/>
            </a:xfrm>
            <a:custGeom>
              <a:avLst/>
              <a:gdLst>
                <a:gd name="T0" fmla="*/ 302 w 612"/>
                <a:gd name="T1" fmla="*/ 835 h 836"/>
                <a:gd name="T2" fmla="*/ 611 w 612"/>
                <a:gd name="T3" fmla="*/ 476 h 836"/>
                <a:gd name="T4" fmla="*/ 226 w 612"/>
                <a:gd name="T5" fmla="*/ 0 h 836"/>
                <a:gd name="T6" fmla="*/ 0 w 612"/>
                <a:gd name="T7" fmla="*/ 302 h 836"/>
                <a:gd name="T8" fmla="*/ 302 w 612"/>
                <a:gd name="T9" fmla="*/ 835 h 8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12"/>
                <a:gd name="T16" fmla="*/ 0 h 836"/>
                <a:gd name="T17" fmla="*/ 612 w 612"/>
                <a:gd name="T18" fmla="*/ 836 h 8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12" h="836">
                  <a:moveTo>
                    <a:pt x="302" y="835"/>
                  </a:moveTo>
                  <a:lnTo>
                    <a:pt x="611" y="476"/>
                  </a:lnTo>
                  <a:lnTo>
                    <a:pt x="226" y="0"/>
                  </a:lnTo>
                  <a:lnTo>
                    <a:pt x="0" y="302"/>
                  </a:lnTo>
                  <a:lnTo>
                    <a:pt x="302" y="835"/>
                  </a:lnTo>
                </a:path>
              </a:pathLst>
            </a:custGeom>
            <a:solidFill>
              <a:srgbClr val="DE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23"/>
          <p:cNvGrpSpPr/>
          <p:nvPr/>
        </p:nvGrpSpPr>
        <p:grpSpPr bwMode="auto">
          <a:xfrm>
            <a:off x="2180791" y="1929824"/>
            <a:ext cx="2046865" cy="828185"/>
            <a:chOff x="635" y="1825"/>
            <a:chExt cx="2150" cy="838"/>
          </a:xfrm>
        </p:grpSpPr>
        <p:sp>
          <p:nvSpPr>
            <p:cNvPr id="63" name="Freeform 24"/>
            <p:cNvSpPr/>
            <p:nvPr/>
          </p:nvSpPr>
          <p:spPr bwMode="gray">
            <a:xfrm>
              <a:off x="2261" y="1825"/>
              <a:ext cx="524" cy="838"/>
            </a:xfrm>
            <a:custGeom>
              <a:avLst/>
              <a:gdLst>
                <a:gd name="T0" fmla="*/ 0 w 516"/>
                <a:gd name="T1" fmla="*/ 201 h 732"/>
                <a:gd name="T2" fmla="*/ 294 w 516"/>
                <a:gd name="T3" fmla="*/ 731 h 732"/>
                <a:gd name="T4" fmla="*/ 515 w 516"/>
                <a:gd name="T5" fmla="*/ 444 h 732"/>
                <a:gd name="T6" fmla="*/ 156 w 516"/>
                <a:gd name="T7" fmla="*/ 0 h 732"/>
                <a:gd name="T8" fmla="*/ 0 w 516"/>
                <a:gd name="T9" fmla="*/ 201 h 7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6"/>
                <a:gd name="T16" fmla="*/ 0 h 732"/>
                <a:gd name="T17" fmla="*/ 516 w 516"/>
                <a:gd name="T18" fmla="*/ 732 h 7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6" h="732">
                  <a:moveTo>
                    <a:pt x="0" y="201"/>
                  </a:moveTo>
                  <a:lnTo>
                    <a:pt x="294" y="731"/>
                  </a:lnTo>
                  <a:lnTo>
                    <a:pt x="515" y="444"/>
                  </a:lnTo>
                  <a:lnTo>
                    <a:pt x="156" y="0"/>
                  </a:lnTo>
                  <a:lnTo>
                    <a:pt x="0" y="201"/>
                  </a:lnTo>
                </a:path>
              </a:pathLst>
            </a:cu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4" name="Freeform 25"/>
            <p:cNvSpPr/>
            <p:nvPr/>
          </p:nvSpPr>
          <p:spPr bwMode="gray">
            <a:xfrm>
              <a:off x="915" y="1825"/>
              <a:ext cx="1504" cy="226"/>
            </a:xfrm>
            <a:custGeom>
              <a:avLst/>
              <a:gdLst>
                <a:gd name="T0" fmla="*/ 0 w 1481"/>
                <a:gd name="T1" fmla="*/ 196 h 197"/>
                <a:gd name="T2" fmla="*/ 1329 w 1481"/>
                <a:gd name="T3" fmla="*/ 196 h 197"/>
                <a:gd name="T4" fmla="*/ 1480 w 1481"/>
                <a:gd name="T5" fmla="*/ 0 h 197"/>
                <a:gd name="T6" fmla="*/ 367 w 1481"/>
                <a:gd name="T7" fmla="*/ 3 h 197"/>
                <a:gd name="T8" fmla="*/ 0 w 1481"/>
                <a:gd name="T9" fmla="*/ 196 h 1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81"/>
                <a:gd name="T16" fmla="*/ 0 h 197"/>
                <a:gd name="T17" fmla="*/ 1481 w 1481"/>
                <a:gd name="T18" fmla="*/ 197 h 19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81" h="197">
                  <a:moveTo>
                    <a:pt x="0" y="196"/>
                  </a:moveTo>
                  <a:lnTo>
                    <a:pt x="1329" y="196"/>
                  </a:lnTo>
                  <a:lnTo>
                    <a:pt x="1480" y="0"/>
                  </a:lnTo>
                  <a:lnTo>
                    <a:pt x="367" y="3"/>
                  </a:lnTo>
                  <a:lnTo>
                    <a:pt x="0" y="196"/>
                  </a:lnTo>
                </a:path>
              </a:pathLst>
            </a:cu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5" name="Freeform 26"/>
            <p:cNvSpPr/>
            <p:nvPr/>
          </p:nvSpPr>
          <p:spPr bwMode="gray">
            <a:xfrm>
              <a:off x="635" y="2051"/>
              <a:ext cx="1935" cy="607"/>
            </a:xfrm>
            <a:custGeom>
              <a:avLst/>
              <a:gdLst>
                <a:gd name="T0" fmla="*/ 0 w 1906"/>
                <a:gd name="T1" fmla="*/ 529 h 530"/>
                <a:gd name="T2" fmla="*/ 1905 w 1906"/>
                <a:gd name="T3" fmla="*/ 529 h 530"/>
                <a:gd name="T4" fmla="*/ 1606 w 1906"/>
                <a:gd name="T5" fmla="*/ 0 h 530"/>
                <a:gd name="T6" fmla="*/ 282 w 1906"/>
                <a:gd name="T7" fmla="*/ 0 h 530"/>
                <a:gd name="T8" fmla="*/ 0 w 1906"/>
                <a:gd name="T9" fmla="*/ 529 h 5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06"/>
                <a:gd name="T16" fmla="*/ 0 h 530"/>
                <a:gd name="T17" fmla="*/ 1906 w 1906"/>
                <a:gd name="T18" fmla="*/ 530 h 5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06" h="530">
                  <a:moveTo>
                    <a:pt x="0" y="529"/>
                  </a:moveTo>
                  <a:lnTo>
                    <a:pt x="1905" y="529"/>
                  </a:lnTo>
                  <a:lnTo>
                    <a:pt x="1606" y="0"/>
                  </a:lnTo>
                  <a:lnTo>
                    <a:pt x="282" y="0"/>
                  </a:lnTo>
                  <a:lnTo>
                    <a:pt x="0" y="529"/>
                  </a:lnTo>
                </a:path>
              </a:pathLst>
            </a:custGeom>
            <a:gradFill flip="none" rotWithShape="1">
              <a:gsLst>
                <a:gs pos="0">
                  <a:srgbClr val="FF0000"/>
                </a:gs>
                <a:gs pos="100000">
                  <a:srgbClr val="FF66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27"/>
          <p:cNvGrpSpPr/>
          <p:nvPr/>
        </p:nvGrpSpPr>
        <p:grpSpPr bwMode="auto">
          <a:xfrm>
            <a:off x="2485440" y="1345745"/>
            <a:ext cx="1336650" cy="728368"/>
            <a:chOff x="955" y="1234"/>
            <a:chExt cx="1404" cy="737"/>
          </a:xfrm>
        </p:grpSpPr>
        <p:sp>
          <p:nvSpPr>
            <p:cNvPr id="60" name="Freeform 28"/>
            <p:cNvSpPr/>
            <p:nvPr/>
          </p:nvSpPr>
          <p:spPr bwMode="gray">
            <a:xfrm>
              <a:off x="1250" y="1239"/>
              <a:ext cx="742" cy="118"/>
            </a:xfrm>
            <a:custGeom>
              <a:avLst/>
              <a:gdLst>
                <a:gd name="T0" fmla="*/ 0 w 734"/>
                <a:gd name="T1" fmla="*/ 100 h 104"/>
                <a:gd name="T2" fmla="*/ 652 w 734"/>
                <a:gd name="T3" fmla="*/ 103 h 104"/>
                <a:gd name="T4" fmla="*/ 733 w 734"/>
                <a:gd name="T5" fmla="*/ 0 h 104"/>
                <a:gd name="T6" fmla="*/ 180 w 734"/>
                <a:gd name="T7" fmla="*/ 0 h 104"/>
                <a:gd name="T8" fmla="*/ 0 w 734"/>
                <a:gd name="T9" fmla="*/ 100 h 1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4"/>
                <a:gd name="T16" fmla="*/ 0 h 104"/>
                <a:gd name="T17" fmla="*/ 734 w 734"/>
                <a:gd name="T18" fmla="*/ 104 h 10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4" h="104">
                  <a:moveTo>
                    <a:pt x="0" y="100"/>
                  </a:moveTo>
                  <a:lnTo>
                    <a:pt x="652" y="103"/>
                  </a:lnTo>
                  <a:lnTo>
                    <a:pt x="733" y="0"/>
                  </a:lnTo>
                  <a:lnTo>
                    <a:pt x="180" y="0"/>
                  </a:lnTo>
                  <a:lnTo>
                    <a:pt x="0" y="100"/>
                  </a:lnTo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1" name="Freeform 29"/>
            <p:cNvSpPr/>
            <p:nvPr/>
          </p:nvSpPr>
          <p:spPr bwMode="gray">
            <a:xfrm>
              <a:off x="955" y="1354"/>
              <a:ext cx="1258" cy="617"/>
            </a:xfrm>
            <a:custGeom>
              <a:avLst/>
              <a:gdLst>
                <a:gd name="T0" fmla="*/ 0 w 1239"/>
                <a:gd name="T1" fmla="*/ 537 h 538"/>
                <a:gd name="T2" fmla="*/ 1238 w 1239"/>
                <a:gd name="T3" fmla="*/ 537 h 538"/>
                <a:gd name="T4" fmla="*/ 950 w 1239"/>
                <a:gd name="T5" fmla="*/ 0 h 538"/>
                <a:gd name="T6" fmla="*/ 288 w 1239"/>
                <a:gd name="T7" fmla="*/ 0 h 538"/>
                <a:gd name="T8" fmla="*/ 0 w 1239"/>
                <a:gd name="T9" fmla="*/ 537 h 5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39"/>
                <a:gd name="T16" fmla="*/ 0 h 538"/>
                <a:gd name="T17" fmla="*/ 1239 w 1239"/>
                <a:gd name="T18" fmla="*/ 538 h 5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39" h="538">
                  <a:moveTo>
                    <a:pt x="0" y="537"/>
                  </a:moveTo>
                  <a:lnTo>
                    <a:pt x="1238" y="537"/>
                  </a:lnTo>
                  <a:lnTo>
                    <a:pt x="950" y="0"/>
                  </a:lnTo>
                  <a:lnTo>
                    <a:pt x="288" y="0"/>
                  </a:lnTo>
                  <a:lnTo>
                    <a:pt x="0" y="537"/>
                  </a:lnTo>
                </a:path>
              </a:pathLst>
            </a:custGeom>
            <a:gradFill flip="none" rotWithShape="1">
              <a:gsLst>
                <a:gs pos="0">
                  <a:srgbClr val="FF6600"/>
                </a:gs>
                <a:gs pos="100000">
                  <a:srgbClr val="FFC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62" name="Freeform 30"/>
            <p:cNvSpPr/>
            <p:nvPr/>
          </p:nvSpPr>
          <p:spPr bwMode="gray">
            <a:xfrm>
              <a:off x="1914" y="1234"/>
              <a:ext cx="445" cy="732"/>
            </a:xfrm>
            <a:custGeom>
              <a:avLst/>
              <a:gdLst>
                <a:gd name="T0" fmla="*/ 289 w 439"/>
                <a:gd name="T1" fmla="*/ 637 h 638"/>
                <a:gd name="T2" fmla="*/ 438 w 439"/>
                <a:gd name="T3" fmla="*/ 441 h 638"/>
                <a:gd name="T4" fmla="*/ 79 w 439"/>
                <a:gd name="T5" fmla="*/ 0 h 638"/>
                <a:gd name="T6" fmla="*/ 0 w 439"/>
                <a:gd name="T7" fmla="*/ 96 h 638"/>
                <a:gd name="T8" fmla="*/ 289 w 439"/>
                <a:gd name="T9" fmla="*/ 637 h 6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39"/>
                <a:gd name="T16" fmla="*/ 0 h 638"/>
                <a:gd name="T17" fmla="*/ 439 w 439"/>
                <a:gd name="T18" fmla="*/ 638 h 6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39" h="638">
                  <a:moveTo>
                    <a:pt x="289" y="637"/>
                  </a:moveTo>
                  <a:lnTo>
                    <a:pt x="438" y="441"/>
                  </a:lnTo>
                  <a:lnTo>
                    <a:pt x="79" y="0"/>
                  </a:lnTo>
                  <a:lnTo>
                    <a:pt x="0" y="96"/>
                  </a:lnTo>
                  <a:lnTo>
                    <a:pt x="289" y="637"/>
                  </a:lnTo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31"/>
          <p:cNvGrpSpPr/>
          <p:nvPr/>
        </p:nvGrpSpPr>
        <p:grpSpPr bwMode="auto">
          <a:xfrm>
            <a:off x="2798658" y="771550"/>
            <a:ext cx="621676" cy="608785"/>
            <a:chOff x="1284" y="653"/>
            <a:chExt cx="653" cy="616"/>
          </a:xfrm>
        </p:grpSpPr>
        <p:sp>
          <p:nvSpPr>
            <p:cNvPr id="58" name="Freeform 32"/>
            <p:cNvSpPr/>
            <p:nvPr/>
          </p:nvSpPr>
          <p:spPr bwMode="gray">
            <a:xfrm>
              <a:off x="1284" y="653"/>
              <a:ext cx="598" cy="616"/>
            </a:xfrm>
            <a:custGeom>
              <a:avLst/>
              <a:gdLst>
                <a:gd name="T0" fmla="*/ 0 w 587"/>
                <a:gd name="T1" fmla="*/ 533 h 537"/>
                <a:gd name="T2" fmla="*/ 586 w 587"/>
                <a:gd name="T3" fmla="*/ 536 h 537"/>
                <a:gd name="T4" fmla="*/ 283 w 587"/>
                <a:gd name="T5" fmla="*/ 0 h 537"/>
                <a:gd name="T6" fmla="*/ 0 w 587"/>
                <a:gd name="T7" fmla="*/ 533 h 5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87"/>
                <a:gd name="T13" fmla="*/ 0 h 537"/>
                <a:gd name="T14" fmla="*/ 587 w 587"/>
                <a:gd name="T15" fmla="*/ 537 h 5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87" h="537">
                  <a:moveTo>
                    <a:pt x="0" y="533"/>
                  </a:moveTo>
                  <a:lnTo>
                    <a:pt x="586" y="536"/>
                  </a:lnTo>
                  <a:lnTo>
                    <a:pt x="283" y="0"/>
                  </a:lnTo>
                  <a:lnTo>
                    <a:pt x="0" y="533"/>
                  </a:lnTo>
                </a:path>
              </a:pathLst>
            </a:custGeom>
            <a:gradFill flip="none" rotWithShape="1">
              <a:gsLst>
                <a:gs pos="0">
                  <a:srgbClr val="FFC000"/>
                </a:gs>
                <a:gs pos="100000">
                  <a:srgbClr val="FFFF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59" name="Freeform 33"/>
            <p:cNvSpPr/>
            <p:nvPr/>
          </p:nvSpPr>
          <p:spPr bwMode="gray">
            <a:xfrm>
              <a:off x="1568" y="653"/>
              <a:ext cx="369" cy="613"/>
            </a:xfrm>
            <a:custGeom>
              <a:avLst/>
              <a:gdLst>
                <a:gd name="T0" fmla="*/ 296 w 364"/>
                <a:gd name="T1" fmla="*/ 534 h 535"/>
                <a:gd name="T2" fmla="*/ 363 w 364"/>
                <a:gd name="T3" fmla="*/ 445 h 535"/>
                <a:gd name="T4" fmla="*/ 0 w 364"/>
                <a:gd name="T5" fmla="*/ 0 h 535"/>
                <a:gd name="T6" fmla="*/ 296 w 364"/>
                <a:gd name="T7" fmla="*/ 534 h 53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64"/>
                <a:gd name="T13" fmla="*/ 0 h 535"/>
                <a:gd name="T14" fmla="*/ 364 w 364"/>
                <a:gd name="T15" fmla="*/ 535 h 53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64" h="535">
                  <a:moveTo>
                    <a:pt x="296" y="534"/>
                  </a:moveTo>
                  <a:lnTo>
                    <a:pt x="363" y="445"/>
                  </a:lnTo>
                  <a:lnTo>
                    <a:pt x="0" y="0"/>
                  </a:lnTo>
                  <a:lnTo>
                    <a:pt x="296" y="534"/>
                  </a:lnTo>
                </a:path>
              </a:pathLst>
            </a:cu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77" name="矩形 76"/>
          <p:cNvSpPr/>
          <p:nvPr/>
        </p:nvSpPr>
        <p:spPr>
          <a:xfrm>
            <a:off x="2681789" y="1660526"/>
            <a:ext cx="8002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文字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2630493" y="2281514"/>
            <a:ext cx="90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文字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2579197" y="2991092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文字</a:t>
            </a:r>
            <a:endParaRPr lang="en-US" altLang="zh-CN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2527900" y="3794644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加文字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Text Box 28"/>
          <p:cNvSpPr txBox="1">
            <a:spLocks noChangeArrowheads="1"/>
          </p:cNvSpPr>
          <p:nvPr/>
        </p:nvSpPr>
        <p:spPr bwMode="auto">
          <a:xfrm>
            <a:off x="4121025" y="1392239"/>
            <a:ext cx="2251175" cy="419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82" name="Text Box 28"/>
          <p:cNvSpPr txBox="1">
            <a:spLocks noChangeArrowheads="1"/>
          </p:cNvSpPr>
          <p:nvPr/>
        </p:nvSpPr>
        <p:spPr bwMode="auto">
          <a:xfrm>
            <a:off x="4431840" y="2069172"/>
            <a:ext cx="2251175" cy="419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83" name="Text Box 28"/>
          <p:cNvSpPr txBox="1">
            <a:spLocks noChangeArrowheads="1"/>
          </p:cNvSpPr>
          <p:nvPr/>
        </p:nvSpPr>
        <p:spPr bwMode="auto">
          <a:xfrm>
            <a:off x="4826829" y="2803250"/>
            <a:ext cx="2251175" cy="419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  <p:sp>
        <p:nvSpPr>
          <p:cNvPr id="84" name="Text Box 28"/>
          <p:cNvSpPr txBox="1">
            <a:spLocks noChangeArrowheads="1"/>
          </p:cNvSpPr>
          <p:nvPr/>
        </p:nvSpPr>
        <p:spPr bwMode="auto">
          <a:xfrm>
            <a:off x="5300227" y="3642610"/>
            <a:ext cx="2251175" cy="419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marL="228600" indent="-228600" defTabSz="685800">
              <a:lnSpc>
                <a:spcPct val="7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单击此处填加文字内容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60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5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0"/>
                            </p:stCondLst>
                            <p:childTnLst>
                              <p:par>
                                <p:cTn id="5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8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50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80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500"/>
                            </p:stCondLst>
                            <p:childTnLst>
                              <p:par>
                                <p:cTn id="6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8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90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5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0"/>
                            </p:stCondLst>
                            <p:childTnLst>
                              <p:par>
                                <p:cTn id="7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0500"/>
                            </p:stCondLst>
                            <p:childTnLst>
                              <p:par>
                                <p:cTn id="8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1000"/>
                            </p:stCondLst>
                            <p:childTnLst>
                              <p:par>
                                <p:cTn id="8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1500"/>
                            </p:stCondLst>
                            <p:childTnLst>
                              <p:par>
                                <p:cTn id="9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2" grpId="0" animBg="1"/>
      <p:bldP spid="43" grpId="0" animBg="1"/>
      <p:bldP spid="77" grpId="0"/>
      <p:bldP spid="78" grpId="0"/>
      <p:bldP spid="79" grpId="0"/>
      <p:bldP spid="8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箭头连接符 5"/>
          <p:cNvCxnSpPr/>
          <p:nvPr/>
        </p:nvCxnSpPr>
        <p:spPr>
          <a:xfrm flipV="1">
            <a:off x="1835696" y="1203598"/>
            <a:ext cx="0" cy="2952328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/>
          <p:cNvCxnSpPr/>
          <p:nvPr/>
        </p:nvCxnSpPr>
        <p:spPr>
          <a:xfrm>
            <a:off x="1763688" y="4083918"/>
            <a:ext cx="5544616" cy="0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2411760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4921752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3039258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3666756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6804248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5549250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4294254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6176748" y="408391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 rot="5400000">
            <a:off x="1803326" y="1445340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 rot="5400000">
            <a:off x="1803326" y="1775989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 rot="5400000">
            <a:off x="1803326" y="2106638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 rot="5400000">
            <a:off x="1803326" y="2767936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rot="5400000">
            <a:off x="1803326" y="3759882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 rot="5400000">
            <a:off x="1803326" y="2437287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 rot="5400000">
            <a:off x="1803326" y="3429234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 rot="5400000">
            <a:off x="1803326" y="3098585"/>
            <a:ext cx="0" cy="7200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2195736" y="3842103"/>
            <a:ext cx="432048" cy="238367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823234" y="3603736"/>
            <a:ext cx="432048" cy="476733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3450732" y="3326738"/>
            <a:ext cx="432048" cy="753732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/>
          <p:cNvSpPr/>
          <p:nvPr/>
        </p:nvSpPr>
        <p:spPr>
          <a:xfrm>
            <a:off x="4078230" y="3074082"/>
            <a:ext cx="432048" cy="1006388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4705728" y="2679762"/>
            <a:ext cx="432048" cy="1400707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/>
          <p:cNvSpPr/>
          <p:nvPr/>
        </p:nvSpPr>
        <p:spPr>
          <a:xfrm>
            <a:off x="5333226" y="2427734"/>
            <a:ext cx="432048" cy="1652736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/>
          <p:cNvSpPr/>
          <p:nvPr/>
        </p:nvSpPr>
        <p:spPr>
          <a:xfrm>
            <a:off x="5960724" y="1923678"/>
            <a:ext cx="432048" cy="2156792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/>
        </p:nvSpPr>
        <p:spPr>
          <a:xfrm>
            <a:off x="6588224" y="1342844"/>
            <a:ext cx="432048" cy="2737626"/>
          </a:xfrm>
          <a:prstGeom prst="rect">
            <a:avLst/>
          </a:prstGeom>
          <a:gradFill flip="none" rotWithShape="1">
            <a:gsLst>
              <a:gs pos="0">
                <a:srgbClr val="F20000"/>
              </a:gs>
              <a:gs pos="100000">
                <a:srgbClr val="FF6600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Text Box 29"/>
          <p:cNvSpPr txBox="1">
            <a:spLocks noChangeArrowheads="1"/>
          </p:cNvSpPr>
          <p:nvPr/>
        </p:nvSpPr>
        <p:spPr bwMode="gray">
          <a:xfrm>
            <a:off x="1475656" y="134284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Text Box 29"/>
          <p:cNvSpPr txBox="1">
            <a:spLocks noChangeArrowheads="1"/>
          </p:cNvSpPr>
          <p:nvPr/>
        </p:nvSpPr>
        <p:spPr bwMode="gray">
          <a:xfrm>
            <a:off x="1475656" y="1673493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Text Box 29"/>
          <p:cNvSpPr txBox="1">
            <a:spLocks noChangeArrowheads="1"/>
          </p:cNvSpPr>
          <p:nvPr/>
        </p:nvSpPr>
        <p:spPr bwMode="gray">
          <a:xfrm>
            <a:off x="1475656" y="2004142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Text Box 29"/>
          <p:cNvSpPr txBox="1">
            <a:spLocks noChangeArrowheads="1"/>
          </p:cNvSpPr>
          <p:nvPr/>
        </p:nvSpPr>
        <p:spPr bwMode="gray">
          <a:xfrm>
            <a:off x="1475656" y="2334790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Text Box 29"/>
          <p:cNvSpPr txBox="1">
            <a:spLocks noChangeArrowheads="1"/>
          </p:cNvSpPr>
          <p:nvPr/>
        </p:nvSpPr>
        <p:spPr bwMode="gray">
          <a:xfrm>
            <a:off x="1475656" y="2667827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Text Box 29"/>
          <p:cNvSpPr txBox="1">
            <a:spLocks noChangeArrowheads="1"/>
          </p:cNvSpPr>
          <p:nvPr/>
        </p:nvSpPr>
        <p:spPr bwMode="gray">
          <a:xfrm>
            <a:off x="1475656" y="300207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 Box 29"/>
          <p:cNvSpPr txBox="1">
            <a:spLocks noChangeArrowheads="1"/>
          </p:cNvSpPr>
          <p:nvPr/>
        </p:nvSpPr>
        <p:spPr bwMode="gray">
          <a:xfrm>
            <a:off x="1475656" y="3326738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Text Box 29"/>
          <p:cNvSpPr txBox="1">
            <a:spLocks noChangeArrowheads="1"/>
          </p:cNvSpPr>
          <p:nvPr/>
        </p:nvSpPr>
        <p:spPr bwMode="gray">
          <a:xfrm>
            <a:off x="1475656" y="363435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Text Box 29"/>
          <p:cNvSpPr txBox="1">
            <a:spLocks noChangeArrowheads="1"/>
          </p:cNvSpPr>
          <p:nvPr/>
        </p:nvSpPr>
        <p:spPr bwMode="gray">
          <a:xfrm>
            <a:off x="2281342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Text Box 29"/>
          <p:cNvSpPr txBox="1">
            <a:spLocks noChangeArrowheads="1"/>
          </p:cNvSpPr>
          <p:nvPr/>
        </p:nvSpPr>
        <p:spPr bwMode="gray">
          <a:xfrm>
            <a:off x="2902041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Text Box 29"/>
          <p:cNvSpPr txBox="1">
            <a:spLocks noChangeArrowheads="1"/>
          </p:cNvSpPr>
          <p:nvPr/>
        </p:nvSpPr>
        <p:spPr bwMode="gray">
          <a:xfrm>
            <a:off x="3529539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Text Box 29"/>
          <p:cNvSpPr txBox="1">
            <a:spLocks noChangeArrowheads="1"/>
          </p:cNvSpPr>
          <p:nvPr/>
        </p:nvSpPr>
        <p:spPr bwMode="gray">
          <a:xfrm>
            <a:off x="4157037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Text Box 29"/>
          <p:cNvSpPr txBox="1">
            <a:spLocks noChangeArrowheads="1"/>
          </p:cNvSpPr>
          <p:nvPr/>
        </p:nvSpPr>
        <p:spPr bwMode="gray">
          <a:xfrm>
            <a:off x="4784535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Text Box 29"/>
          <p:cNvSpPr txBox="1">
            <a:spLocks noChangeArrowheads="1"/>
          </p:cNvSpPr>
          <p:nvPr/>
        </p:nvSpPr>
        <p:spPr bwMode="gray">
          <a:xfrm>
            <a:off x="5412033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Text Box 29"/>
          <p:cNvSpPr txBox="1">
            <a:spLocks noChangeArrowheads="1"/>
          </p:cNvSpPr>
          <p:nvPr/>
        </p:nvSpPr>
        <p:spPr bwMode="gray">
          <a:xfrm>
            <a:off x="6039531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Text Box 29"/>
          <p:cNvSpPr txBox="1">
            <a:spLocks noChangeArrowheads="1"/>
          </p:cNvSpPr>
          <p:nvPr/>
        </p:nvSpPr>
        <p:spPr bwMode="gray">
          <a:xfrm>
            <a:off x="6667031" y="4227934"/>
            <a:ext cx="2744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fontAlgn="ctr">
              <a:buClr>
                <a:srgbClr val="FF0000"/>
              </a:buClr>
              <a:buSzPct val="70000"/>
            </a:pPr>
            <a:r>
              <a:rPr lang="en-US" altLang="zh-CN" sz="1200" dirty="0" smtClean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endParaRPr lang="en-US" altLang="zh-CN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6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8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9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11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组合 37"/>
          <p:cNvGrpSpPr/>
          <p:nvPr/>
        </p:nvGrpSpPr>
        <p:grpSpPr>
          <a:xfrm>
            <a:off x="4503911" y="987574"/>
            <a:ext cx="3448050" cy="781050"/>
            <a:chOff x="4552950" y="2459037"/>
            <a:chExt cx="3448050" cy="781050"/>
          </a:xfrm>
        </p:grpSpPr>
        <p:sp>
          <p:nvSpPr>
            <p:cNvPr id="39" name="AutoShape 3"/>
            <p:cNvSpPr>
              <a:spLocks noChangeArrowheads="1"/>
            </p:cNvSpPr>
            <p:nvPr/>
          </p:nvSpPr>
          <p:spPr bwMode="auto">
            <a:xfrm>
              <a:off x="4760913" y="2459037"/>
              <a:ext cx="3240087" cy="781050"/>
            </a:xfrm>
            <a:prstGeom prst="roundRect">
              <a:avLst>
                <a:gd name="adj" fmla="val 16667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AutoShape 9"/>
            <p:cNvSpPr>
              <a:spLocks noChangeArrowheads="1"/>
            </p:cNvSpPr>
            <p:nvPr/>
          </p:nvSpPr>
          <p:spPr bwMode="auto">
            <a:xfrm rot="5400000">
              <a:off x="4552156" y="2631281"/>
              <a:ext cx="427038" cy="425450"/>
            </a:xfrm>
            <a:prstGeom prst="diamond">
              <a:avLst/>
            </a:prstGeom>
            <a:solidFill>
              <a:srgbClr val="FFC000"/>
            </a:solidFill>
            <a:ln w="19050" cap="flat" cmpd="sng">
              <a:solidFill>
                <a:srgbClr val="F8F8F8"/>
              </a:solidFill>
              <a:miter lim="800000"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4503911" y="1809899"/>
            <a:ext cx="3448050" cy="781050"/>
            <a:chOff x="4552950" y="3281362"/>
            <a:chExt cx="3448050" cy="781050"/>
          </a:xfrm>
        </p:grpSpPr>
        <p:sp>
          <p:nvSpPr>
            <p:cNvPr id="42" name="AutoShape 2"/>
            <p:cNvSpPr>
              <a:spLocks noChangeArrowheads="1"/>
            </p:cNvSpPr>
            <p:nvPr/>
          </p:nvSpPr>
          <p:spPr bwMode="auto">
            <a:xfrm>
              <a:off x="4760913" y="3281362"/>
              <a:ext cx="3240087" cy="781050"/>
            </a:xfrm>
            <a:prstGeom prst="roundRect">
              <a:avLst>
                <a:gd name="adj" fmla="val 16667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3" name="AutoShape 10"/>
            <p:cNvSpPr>
              <a:spLocks noChangeArrowheads="1"/>
            </p:cNvSpPr>
            <p:nvPr/>
          </p:nvSpPr>
          <p:spPr bwMode="auto">
            <a:xfrm rot="5400000">
              <a:off x="4552950" y="3454400"/>
              <a:ext cx="425450" cy="425450"/>
            </a:xfrm>
            <a:prstGeom prst="diamond">
              <a:avLst/>
            </a:prstGeom>
            <a:solidFill>
              <a:srgbClr val="FFA219"/>
            </a:solidFill>
            <a:ln w="19050" cap="flat" cmpd="sng">
              <a:solidFill>
                <a:srgbClr val="F8F8F8"/>
              </a:solidFill>
              <a:miter lim="800000"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4503911" y="2624287"/>
            <a:ext cx="3448050" cy="781050"/>
            <a:chOff x="4552950" y="4095750"/>
            <a:chExt cx="3448050" cy="781050"/>
          </a:xfrm>
        </p:grpSpPr>
        <p:sp>
          <p:nvSpPr>
            <p:cNvPr id="45" name="AutoShape 12"/>
            <p:cNvSpPr>
              <a:spLocks noChangeArrowheads="1"/>
            </p:cNvSpPr>
            <p:nvPr/>
          </p:nvSpPr>
          <p:spPr bwMode="auto">
            <a:xfrm>
              <a:off x="4760913" y="4095750"/>
              <a:ext cx="3240087" cy="781050"/>
            </a:xfrm>
            <a:prstGeom prst="roundRect">
              <a:avLst>
                <a:gd name="adj" fmla="val 16667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AutoShape 13"/>
            <p:cNvSpPr>
              <a:spLocks noChangeArrowheads="1"/>
            </p:cNvSpPr>
            <p:nvPr/>
          </p:nvSpPr>
          <p:spPr bwMode="auto">
            <a:xfrm rot="5400000">
              <a:off x="4552156" y="4269581"/>
              <a:ext cx="427038" cy="425450"/>
            </a:xfrm>
            <a:prstGeom prst="diamond">
              <a:avLst/>
            </a:prstGeom>
            <a:solidFill>
              <a:srgbClr val="FF0000"/>
            </a:solidFill>
            <a:ln w="19050" cap="flat" cmpd="sng">
              <a:solidFill>
                <a:srgbClr val="F8F8F8"/>
              </a:solidFill>
              <a:miter lim="800000"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4503911" y="3446612"/>
            <a:ext cx="3448050" cy="784225"/>
            <a:chOff x="4552950" y="4918075"/>
            <a:chExt cx="3448050" cy="784225"/>
          </a:xfrm>
        </p:grpSpPr>
        <p:sp>
          <p:nvSpPr>
            <p:cNvPr id="48" name="AutoShape 11"/>
            <p:cNvSpPr>
              <a:spLocks noChangeArrowheads="1"/>
            </p:cNvSpPr>
            <p:nvPr/>
          </p:nvSpPr>
          <p:spPr bwMode="auto">
            <a:xfrm>
              <a:off x="4760913" y="4918075"/>
              <a:ext cx="3240087" cy="784225"/>
            </a:xfrm>
            <a:prstGeom prst="roundRect">
              <a:avLst>
                <a:gd name="adj" fmla="val 16667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AutoShape 14"/>
            <p:cNvSpPr>
              <a:spLocks noChangeArrowheads="1"/>
            </p:cNvSpPr>
            <p:nvPr/>
          </p:nvSpPr>
          <p:spPr bwMode="auto">
            <a:xfrm rot="5400000">
              <a:off x="4552156" y="5091906"/>
              <a:ext cx="427038" cy="425450"/>
            </a:xfrm>
            <a:prstGeom prst="diamond">
              <a:avLst/>
            </a:prstGeom>
            <a:solidFill>
              <a:srgbClr val="C00000"/>
            </a:solidFill>
            <a:ln w="19050" cap="flat" cmpd="sng">
              <a:solidFill>
                <a:srgbClr val="F8F8F8"/>
              </a:solidFill>
              <a:miter lim="800000"/>
            </a:ln>
            <a:effectLst>
              <a:outerShdw sy="50000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endPara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0" name="Text Box 15"/>
          <p:cNvSpPr txBox="1">
            <a:spLocks noChangeArrowheads="1"/>
          </p:cNvSpPr>
          <p:nvPr/>
        </p:nvSpPr>
        <p:spPr bwMode="auto">
          <a:xfrm>
            <a:off x="4976986" y="1173312"/>
            <a:ext cx="2925763" cy="44319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Oval 16"/>
          <p:cNvSpPr>
            <a:spLocks noChangeArrowheads="1"/>
          </p:cNvSpPr>
          <p:nvPr/>
        </p:nvSpPr>
        <p:spPr bwMode="auto">
          <a:xfrm>
            <a:off x="1187624" y="1065362"/>
            <a:ext cx="3163887" cy="3165475"/>
          </a:xfrm>
          <a:prstGeom prst="ellipse">
            <a:avLst/>
          </a:prstGeom>
          <a:solidFill>
            <a:srgbClr val="FFC000"/>
          </a:solidFill>
          <a:ln w="19050" cap="flat" cmpd="sng">
            <a:solidFill>
              <a:srgbClr val="F8F8F8"/>
            </a:solidFill>
            <a:rou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Oval 17"/>
          <p:cNvSpPr>
            <a:spLocks noChangeArrowheads="1"/>
          </p:cNvSpPr>
          <p:nvPr/>
        </p:nvSpPr>
        <p:spPr bwMode="auto">
          <a:xfrm>
            <a:off x="1509242" y="1735287"/>
            <a:ext cx="2554287" cy="2501900"/>
          </a:xfrm>
          <a:prstGeom prst="ellipse">
            <a:avLst/>
          </a:prstGeom>
          <a:solidFill>
            <a:srgbClr val="FFA219"/>
          </a:solidFill>
          <a:ln w="19050" cap="flat" cmpd="sng">
            <a:solidFill>
              <a:srgbClr val="F8F8F8"/>
            </a:solidFill>
            <a:rou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b="1" dirty="0">
              <a:solidFill>
                <a:srgbClr val="00B0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Oval 18"/>
          <p:cNvSpPr>
            <a:spLocks noChangeArrowheads="1"/>
          </p:cNvSpPr>
          <p:nvPr/>
        </p:nvSpPr>
        <p:spPr bwMode="auto">
          <a:xfrm>
            <a:off x="1853729" y="2370287"/>
            <a:ext cx="1885950" cy="1868487"/>
          </a:xfrm>
          <a:prstGeom prst="ellipse">
            <a:avLst/>
          </a:prstGeom>
          <a:solidFill>
            <a:srgbClr val="FF0000"/>
          </a:solidFill>
          <a:ln w="19050" cap="flat" cmpd="sng">
            <a:solidFill>
              <a:srgbClr val="F8F8F8"/>
            </a:solidFill>
            <a:rou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Oval 19"/>
          <p:cNvSpPr>
            <a:spLocks noChangeArrowheads="1"/>
          </p:cNvSpPr>
          <p:nvPr/>
        </p:nvSpPr>
        <p:spPr bwMode="auto">
          <a:xfrm>
            <a:off x="2160117" y="2976712"/>
            <a:ext cx="1295400" cy="1266825"/>
          </a:xfrm>
          <a:prstGeom prst="ellipse">
            <a:avLst/>
          </a:prstGeom>
          <a:solidFill>
            <a:srgbClr val="DE0000"/>
          </a:solidFill>
          <a:ln w="19050" cap="flat" cmpd="sng">
            <a:solidFill>
              <a:srgbClr val="F8F8F8"/>
            </a:solidFill>
            <a:round/>
          </a:ln>
          <a:effectLst>
            <a:outerShdw dist="91581" dir="3378596" algn="ctr" rotWithShape="0">
              <a:srgbClr val="080808">
                <a:alpha val="50000"/>
              </a:srgbClr>
            </a:outerShdw>
          </a:effectLst>
        </p:spPr>
        <p:txBody>
          <a:bodyPr wrap="none" anchor="ctr"/>
          <a:lstStyle/>
          <a:p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Text Box 18"/>
          <p:cNvSpPr txBox="1">
            <a:spLocks noChangeArrowheads="1"/>
          </p:cNvSpPr>
          <p:nvPr/>
        </p:nvSpPr>
        <p:spPr bwMode="auto">
          <a:xfrm>
            <a:off x="2299048" y="3487887"/>
            <a:ext cx="1565275" cy="33855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Text Box 18"/>
          <p:cNvSpPr txBox="1">
            <a:spLocks noChangeArrowheads="1"/>
          </p:cNvSpPr>
          <p:nvPr/>
        </p:nvSpPr>
        <p:spPr bwMode="auto">
          <a:xfrm>
            <a:off x="2208139" y="2597299"/>
            <a:ext cx="1643062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b="1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b="1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Text Box 18"/>
          <p:cNvSpPr txBox="1">
            <a:spLocks noChangeArrowheads="1"/>
          </p:cNvSpPr>
          <p:nvPr/>
        </p:nvSpPr>
        <p:spPr bwMode="auto">
          <a:xfrm>
            <a:off x="2221261" y="1905149"/>
            <a:ext cx="1643062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b="1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b="1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Text Box 18"/>
          <p:cNvSpPr txBox="1">
            <a:spLocks noChangeArrowheads="1"/>
          </p:cNvSpPr>
          <p:nvPr/>
        </p:nvSpPr>
        <p:spPr bwMode="auto">
          <a:xfrm>
            <a:off x="2208139" y="1236812"/>
            <a:ext cx="1643062" cy="40011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2000" b="1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2000" b="1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Text Box 24"/>
          <p:cNvSpPr txBox="1">
            <a:spLocks noChangeArrowheads="1"/>
          </p:cNvSpPr>
          <p:nvPr/>
        </p:nvSpPr>
        <p:spPr bwMode="auto">
          <a:xfrm>
            <a:off x="4976986" y="1986112"/>
            <a:ext cx="2925763" cy="44319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Text Box 25"/>
          <p:cNvSpPr txBox="1">
            <a:spLocks noChangeArrowheads="1"/>
          </p:cNvSpPr>
          <p:nvPr/>
        </p:nvSpPr>
        <p:spPr bwMode="auto">
          <a:xfrm>
            <a:off x="4976986" y="2806849"/>
            <a:ext cx="2925763" cy="44319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Text Box 26"/>
          <p:cNvSpPr txBox="1">
            <a:spLocks noChangeArrowheads="1"/>
          </p:cNvSpPr>
          <p:nvPr/>
        </p:nvSpPr>
        <p:spPr bwMode="auto">
          <a:xfrm>
            <a:off x="4976986" y="3619649"/>
            <a:ext cx="2925763" cy="44319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70000"/>
              </a:lnSpc>
              <a:spcBef>
                <a:spcPct val="50000"/>
              </a:spcBef>
              <a:buFontTx/>
              <a:buChar char="•"/>
            </a:pP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2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12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6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6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7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8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8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6000"/>
                            </p:stCondLst>
                            <p:childTnLst>
                              <p:par>
                                <p:cTn id="4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000"/>
                            </p:stCondLst>
                            <p:childTnLst>
                              <p:par>
                                <p:cTn id="5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500"/>
                            </p:stCondLst>
                            <p:childTnLst>
                              <p:par>
                                <p:cTn id="7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9000"/>
                            </p:stCondLst>
                            <p:childTnLst>
                              <p:par>
                                <p:cTn id="7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51" grpId="0" animBg="1"/>
      <p:bldP spid="52" grpId="0" animBg="1"/>
      <p:bldP spid="53" grpId="0" animBg="1"/>
      <p:bldP spid="54" grpId="0" animBg="1"/>
      <p:bldP spid="55" grpId="0"/>
      <p:bldP spid="56" grpId="0"/>
      <p:bldP spid="57" grpId="0"/>
      <p:bldP spid="58" grpId="0"/>
      <p:bldP spid="59" grpId="0"/>
      <p:bldP spid="60" grpId="0"/>
      <p:bldP spid="6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 bwMode="gray">
          <a:xfrm>
            <a:off x="915987" y="1167408"/>
            <a:ext cx="7389813" cy="3273425"/>
          </a:xfrm>
          <a:custGeom>
            <a:avLst/>
            <a:gdLst/>
            <a:ahLst/>
            <a:cxnLst>
              <a:cxn ang="0">
                <a:pos x="496" y="157"/>
              </a:cxn>
              <a:cxn ang="0">
                <a:pos x="0" y="0"/>
              </a:cxn>
              <a:cxn ang="0">
                <a:pos x="231" y="124"/>
              </a:cxn>
              <a:cxn ang="0">
                <a:pos x="4282" y="2025"/>
              </a:cxn>
              <a:cxn ang="0">
                <a:pos x="3974" y="2298"/>
              </a:cxn>
              <a:cxn ang="0">
                <a:pos x="5190" y="2065"/>
              </a:cxn>
              <a:cxn ang="0">
                <a:pos x="5039" y="1268"/>
              </a:cxn>
              <a:cxn ang="0">
                <a:pos x="4748" y="1507"/>
              </a:cxn>
              <a:cxn ang="0">
                <a:pos x="496" y="157"/>
              </a:cxn>
            </a:cxnLst>
            <a:rect l="0" t="0" r="r" b="b"/>
            <a:pathLst>
              <a:path w="5190" h="2298">
                <a:moveTo>
                  <a:pt x="496" y="157"/>
                </a:moveTo>
                <a:lnTo>
                  <a:pt x="0" y="0"/>
                </a:lnTo>
                <a:lnTo>
                  <a:pt x="231" y="124"/>
                </a:lnTo>
                <a:lnTo>
                  <a:pt x="4282" y="2025"/>
                </a:lnTo>
                <a:lnTo>
                  <a:pt x="3974" y="2298"/>
                </a:lnTo>
                <a:lnTo>
                  <a:pt x="5190" y="2065"/>
                </a:lnTo>
                <a:lnTo>
                  <a:pt x="5039" y="1268"/>
                </a:lnTo>
                <a:lnTo>
                  <a:pt x="4748" y="1507"/>
                </a:lnTo>
                <a:lnTo>
                  <a:pt x="496" y="157"/>
                </a:lnTo>
                <a:close/>
              </a:path>
            </a:pathLst>
          </a:custGeom>
          <a:solidFill>
            <a:srgbClr val="DE0000"/>
          </a:solidFill>
          <a:ln w="9525" cap="flat" cmpd="sng">
            <a:noFill/>
            <a:prstDash val="solid"/>
            <a:rou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 Box 9"/>
          <p:cNvSpPr txBox="1">
            <a:spLocks noChangeArrowheads="1"/>
          </p:cNvSpPr>
          <p:nvPr/>
        </p:nvSpPr>
        <p:spPr bwMode="gray">
          <a:xfrm>
            <a:off x="1625600" y="843558"/>
            <a:ext cx="912812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 Box 10"/>
          <p:cNvSpPr txBox="1">
            <a:spLocks noChangeArrowheads="1"/>
          </p:cNvSpPr>
          <p:nvPr/>
        </p:nvSpPr>
        <p:spPr bwMode="gray">
          <a:xfrm>
            <a:off x="2565400" y="857845"/>
            <a:ext cx="912812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 Box 11"/>
          <p:cNvSpPr txBox="1">
            <a:spLocks noChangeArrowheads="1"/>
          </p:cNvSpPr>
          <p:nvPr/>
        </p:nvSpPr>
        <p:spPr bwMode="gray">
          <a:xfrm>
            <a:off x="3600450" y="862608"/>
            <a:ext cx="912812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gray">
          <a:xfrm>
            <a:off x="4792662" y="854670"/>
            <a:ext cx="915988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gray">
          <a:xfrm>
            <a:off x="6046787" y="853083"/>
            <a:ext cx="914400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zh-CN" altLang="en-US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r>
              <a:rPr lang="en-US" altLang="zh-CN" sz="1400" b="1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gray">
          <a:xfrm>
            <a:off x="381000" y="1859558"/>
            <a:ext cx="1912937" cy="2762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2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</a:t>
            </a:r>
            <a:endParaRPr lang="en-US" altLang="zh-CN" sz="12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 Box 15"/>
          <p:cNvSpPr txBox="1">
            <a:spLocks noChangeArrowheads="1"/>
          </p:cNvSpPr>
          <p:nvPr/>
        </p:nvSpPr>
        <p:spPr bwMode="gray">
          <a:xfrm>
            <a:off x="1104900" y="2350095"/>
            <a:ext cx="1939925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</a:t>
            </a:r>
            <a:endParaRPr lang="en-US" altLang="zh-CN" sz="13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 Box 16"/>
          <p:cNvSpPr txBox="1">
            <a:spLocks noChangeArrowheads="1"/>
          </p:cNvSpPr>
          <p:nvPr/>
        </p:nvSpPr>
        <p:spPr bwMode="gray">
          <a:xfrm>
            <a:off x="1892300" y="2916833"/>
            <a:ext cx="2452687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 Box 17"/>
          <p:cNvSpPr txBox="1">
            <a:spLocks noChangeArrowheads="1"/>
          </p:cNvSpPr>
          <p:nvPr/>
        </p:nvSpPr>
        <p:spPr bwMode="gray">
          <a:xfrm>
            <a:off x="3044825" y="3481983"/>
            <a:ext cx="2452687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 Box 18"/>
          <p:cNvSpPr txBox="1">
            <a:spLocks noChangeArrowheads="1"/>
          </p:cNvSpPr>
          <p:nvPr/>
        </p:nvSpPr>
        <p:spPr bwMode="gray">
          <a:xfrm>
            <a:off x="4197350" y="4136033"/>
            <a:ext cx="2452687" cy="30797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4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</a:t>
            </a:r>
            <a:endParaRPr lang="en-US" altLang="zh-CN" sz="1400" b="1" dirty="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" name="AutoShape 19"/>
          <p:cNvCxnSpPr>
            <a:cxnSpLocks noChangeShapeType="1"/>
            <a:endCxn id="9" idx="0"/>
          </p:cNvCxnSpPr>
          <p:nvPr/>
        </p:nvCxnSpPr>
        <p:spPr bwMode="gray">
          <a:xfrm rot="5400000">
            <a:off x="1618456" y="1374577"/>
            <a:ext cx="203200" cy="76676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C1C1C"/>
            </a:solidFill>
            <a:miter lim="800000"/>
          </a:ln>
        </p:spPr>
      </p:cxnSp>
      <p:cxnSp>
        <p:nvCxnSpPr>
          <p:cNvPr id="15" name="AutoShape 20"/>
          <p:cNvCxnSpPr>
            <a:cxnSpLocks noChangeShapeType="1"/>
            <a:endCxn id="10" idx="0"/>
          </p:cNvCxnSpPr>
          <p:nvPr/>
        </p:nvCxnSpPr>
        <p:spPr bwMode="gray">
          <a:xfrm rot="5400000">
            <a:off x="2394743" y="1717477"/>
            <a:ext cx="312737" cy="9525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C1C1C"/>
            </a:solidFill>
            <a:miter lim="800000"/>
          </a:ln>
        </p:spPr>
      </p:cxnSp>
      <p:cxnSp>
        <p:nvCxnSpPr>
          <p:cNvPr id="16" name="AutoShape 21"/>
          <p:cNvCxnSpPr>
            <a:cxnSpLocks noChangeShapeType="1"/>
            <a:endCxn id="11" idx="0"/>
          </p:cNvCxnSpPr>
          <p:nvPr/>
        </p:nvCxnSpPr>
        <p:spPr bwMode="gray">
          <a:xfrm rot="5400000">
            <a:off x="3366293" y="2223889"/>
            <a:ext cx="446088" cy="93980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C1C1C"/>
            </a:solidFill>
            <a:miter lim="800000"/>
          </a:ln>
        </p:spPr>
      </p:cxnSp>
      <p:cxnSp>
        <p:nvCxnSpPr>
          <p:cNvPr id="17" name="AutoShape 22"/>
          <p:cNvCxnSpPr>
            <a:cxnSpLocks noChangeShapeType="1"/>
            <a:endCxn id="12" idx="0"/>
          </p:cNvCxnSpPr>
          <p:nvPr/>
        </p:nvCxnSpPr>
        <p:spPr bwMode="gray">
          <a:xfrm rot="5400000">
            <a:off x="4510881" y="2733476"/>
            <a:ext cx="509588" cy="9874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C1C1C"/>
            </a:solidFill>
            <a:miter lim="800000"/>
          </a:ln>
        </p:spPr>
      </p:cxnSp>
      <p:cxnSp>
        <p:nvCxnSpPr>
          <p:cNvPr id="18" name="AutoShape 23"/>
          <p:cNvCxnSpPr>
            <a:cxnSpLocks noChangeShapeType="1"/>
            <a:endCxn id="13" idx="0"/>
          </p:cNvCxnSpPr>
          <p:nvPr/>
        </p:nvCxnSpPr>
        <p:spPr bwMode="gray">
          <a:xfrm rot="5400000">
            <a:off x="5661024" y="3266083"/>
            <a:ext cx="633413" cy="11064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1C1C1C"/>
            </a:solidFill>
            <a:miter lim="800000"/>
          </a:ln>
        </p:spPr>
      </p:cxnSp>
      <p:grpSp>
        <p:nvGrpSpPr>
          <p:cNvPr id="19" name="组合 34"/>
          <p:cNvGrpSpPr/>
          <p:nvPr/>
        </p:nvGrpSpPr>
        <p:grpSpPr bwMode="auto">
          <a:xfrm>
            <a:off x="6248400" y="1211858"/>
            <a:ext cx="565150" cy="2290762"/>
            <a:chOff x="6403032" y="1889274"/>
            <a:chExt cx="565150" cy="2290762"/>
          </a:xfrm>
        </p:grpSpPr>
        <p:sp>
          <p:nvSpPr>
            <p:cNvPr id="20" name="AutoShape 7"/>
            <p:cNvSpPr>
              <a:spLocks noChangeArrowheads="1"/>
            </p:cNvSpPr>
            <p:nvPr/>
          </p:nvSpPr>
          <p:spPr bwMode="ltGray">
            <a:xfrm>
              <a:off x="6403032" y="3497411"/>
              <a:ext cx="565150" cy="682625"/>
            </a:xfrm>
            <a:prstGeom prst="can">
              <a:avLst>
                <a:gd name="adj" fmla="val 21434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AutoShape 24"/>
            <p:cNvSpPr>
              <a:spLocks noChangeArrowheads="1"/>
            </p:cNvSpPr>
            <p:nvPr/>
          </p:nvSpPr>
          <p:spPr bwMode="blackGray">
            <a:xfrm>
              <a:off x="6403032" y="1889274"/>
              <a:ext cx="565150" cy="1730375"/>
            </a:xfrm>
            <a:prstGeom prst="can">
              <a:avLst>
                <a:gd name="adj" fmla="val 27996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" name="组合 35"/>
          <p:cNvGrpSpPr/>
          <p:nvPr/>
        </p:nvGrpSpPr>
        <p:grpSpPr bwMode="auto">
          <a:xfrm>
            <a:off x="5037137" y="1210270"/>
            <a:ext cx="442913" cy="1762125"/>
            <a:chOff x="5191769" y="1887686"/>
            <a:chExt cx="442913" cy="1762125"/>
          </a:xfrm>
        </p:grpSpPr>
        <p:sp>
          <p:nvSpPr>
            <p:cNvPr id="23" name="AutoShape 8"/>
            <p:cNvSpPr>
              <a:spLocks noChangeArrowheads="1"/>
            </p:cNvSpPr>
            <p:nvPr/>
          </p:nvSpPr>
          <p:spPr bwMode="ltGray">
            <a:xfrm>
              <a:off x="5191769" y="3222774"/>
              <a:ext cx="442913" cy="427037"/>
            </a:xfrm>
            <a:prstGeom prst="can">
              <a:avLst>
                <a:gd name="adj" fmla="val 21667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AutoShape 25"/>
            <p:cNvSpPr>
              <a:spLocks noChangeArrowheads="1"/>
            </p:cNvSpPr>
            <p:nvPr/>
          </p:nvSpPr>
          <p:spPr bwMode="blackGray">
            <a:xfrm>
              <a:off x="5191769" y="1887686"/>
              <a:ext cx="442913" cy="1433513"/>
            </a:xfrm>
            <a:prstGeom prst="can">
              <a:avLst>
                <a:gd name="adj" fmla="val 27556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36"/>
          <p:cNvGrpSpPr/>
          <p:nvPr/>
        </p:nvGrpSpPr>
        <p:grpSpPr bwMode="auto">
          <a:xfrm>
            <a:off x="3879850" y="1207095"/>
            <a:ext cx="358775" cy="1263650"/>
            <a:chOff x="4034482" y="1884511"/>
            <a:chExt cx="358775" cy="1263650"/>
          </a:xfrm>
        </p:grpSpPr>
        <p:sp>
          <p:nvSpPr>
            <p:cNvPr id="26" name="AutoShape 6"/>
            <p:cNvSpPr>
              <a:spLocks noChangeArrowheads="1"/>
            </p:cNvSpPr>
            <p:nvPr/>
          </p:nvSpPr>
          <p:spPr bwMode="ltGray">
            <a:xfrm>
              <a:off x="4034482" y="2840186"/>
              <a:ext cx="358775" cy="307975"/>
            </a:xfrm>
            <a:prstGeom prst="can">
              <a:avLst>
                <a:gd name="adj" fmla="val 25000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AutoShape 26"/>
            <p:cNvSpPr>
              <a:spLocks noChangeArrowheads="1"/>
            </p:cNvSpPr>
            <p:nvPr/>
          </p:nvSpPr>
          <p:spPr bwMode="blackGray">
            <a:xfrm>
              <a:off x="4034482" y="1884511"/>
              <a:ext cx="358775" cy="1049338"/>
            </a:xfrm>
            <a:prstGeom prst="can">
              <a:avLst>
                <a:gd name="adj" fmla="val 28246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8" name="组合 37"/>
          <p:cNvGrpSpPr/>
          <p:nvPr/>
        </p:nvGrpSpPr>
        <p:grpSpPr bwMode="auto">
          <a:xfrm>
            <a:off x="2895600" y="1213445"/>
            <a:ext cx="263525" cy="823913"/>
            <a:chOff x="3050232" y="1890861"/>
            <a:chExt cx="263525" cy="823913"/>
          </a:xfrm>
        </p:grpSpPr>
        <p:sp>
          <p:nvSpPr>
            <p:cNvPr id="29" name="AutoShape 5"/>
            <p:cNvSpPr>
              <a:spLocks noChangeArrowheads="1"/>
            </p:cNvSpPr>
            <p:nvPr/>
          </p:nvSpPr>
          <p:spPr bwMode="ltGray">
            <a:xfrm>
              <a:off x="3050232" y="2524274"/>
              <a:ext cx="263525" cy="190500"/>
            </a:xfrm>
            <a:prstGeom prst="can">
              <a:avLst>
                <a:gd name="adj" fmla="val 27343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AutoShape 27"/>
            <p:cNvSpPr>
              <a:spLocks noChangeArrowheads="1"/>
            </p:cNvSpPr>
            <p:nvPr/>
          </p:nvSpPr>
          <p:spPr bwMode="blackGray">
            <a:xfrm>
              <a:off x="3050232" y="1890861"/>
              <a:ext cx="263525" cy="688975"/>
            </a:xfrm>
            <a:prstGeom prst="can">
              <a:avLst>
                <a:gd name="adj" fmla="val 23869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1" name="组合 38"/>
          <p:cNvGrpSpPr/>
          <p:nvPr/>
        </p:nvGrpSpPr>
        <p:grpSpPr bwMode="auto">
          <a:xfrm>
            <a:off x="1989137" y="1215033"/>
            <a:ext cx="227013" cy="441325"/>
            <a:chOff x="2143769" y="1892449"/>
            <a:chExt cx="227013" cy="441325"/>
          </a:xfrm>
        </p:grpSpPr>
        <p:sp>
          <p:nvSpPr>
            <p:cNvPr id="32" name="AutoShape 4"/>
            <p:cNvSpPr>
              <a:spLocks noChangeArrowheads="1"/>
            </p:cNvSpPr>
            <p:nvPr/>
          </p:nvSpPr>
          <p:spPr bwMode="ltGray">
            <a:xfrm>
              <a:off x="2143769" y="2194074"/>
              <a:ext cx="227013" cy="139700"/>
            </a:xfrm>
            <a:prstGeom prst="can">
              <a:avLst>
                <a:gd name="adj" fmla="val 39796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AutoShape 28"/>
            <p:cNvSpPr>
              <a:spLocks noChangeArrowheads="1"/>
            </p:cNvSpPr>
            <p:nvPr/>
          </p:nvSpPr>
          <p:spPr bwMode="blackGray">
            <a:xfrm>
              <a:off x="2143769" y="1892449"/>
              <a:ext cx="227013" cy="358775"/>
            </a:xfrm>
            <a:prstGeom prst="can">
              <a:avLst>
                <a:gd name="adj" fmla="val 26830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000"/>
                </a:gs>
                <a:gs pos="100000">
                  <a:srgbClr val="FF6600"/>
                </a:gs>
              </a:gsLst>
              <a:lin ang="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endParaRPr lang="zh-CN" altLang="en-US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000"/>
                            </p:stCondLst>
                            <p:childTnLst>
                              <p:par>
                                <p:cTn id="5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500"/>
                            </p:stCondLst>
                            <p:childTnLst>
                              <p:par>
                                <p:cTn id="6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000"/>
                            </p:stCondLst>
                            <p:childTnLst>
                              <p:par>
                                <p:cTn id="7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500"/>
                            </p:stCondLst>
                            <p:childTnLst>
                              <p:par>
                                <p:cTn id="8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000"/>
                            </p:stCondLst>
                            <p:childTnLst>
                              <p:par>
                                <p:cTn id="8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9500"/>
                            </p:stCondLst>
                            <p:childTnLst>
                              <p:par>
                                <p:cTn id="9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0000"/>
                            </p:stCondLst>
                            <p:childTnLst>
                              <p:par>
                                <p:cTn id="9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Box 3"/>
          <p:cNvSpPr txBox="1">
            <a:spLocks noChangeArrowheads="1"/>
          </p:cNvSpPr>
          <p:nvPr/>
        </p:nvSpPr>
        <p:spPr bwMode="auto">
          <a:xfrm>
            <a:off x="6907515" y="2237274"/>
            <a:ext cx="1975221" cy="73866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1</a:t>
            </a:r>
            <a:r>
              <a:rPr lang="en-US" altLang="zh-CN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3</a:t>
            </a:r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1</a:t>
            </a:r>
            <a:r>
              <a:rPr lang="en-US" altLang="zh-CN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3</a:t>
            </a:r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1</a:t>
            </a:r>
            <a:r>
              <a:rPr lang="en-US" altLang="zh-CN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3</a:t>
            </a:r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</p:txBody>
      </p:sp>
      <p:sp>
        <p:nvSpPr>
          <p:cNvPr id="37" name="Line 11"/>
          <p:cNvSpPr>
            <a:spLocks noChangeShapeType="1"/>
          </p:cNvSpPr>
          <p:nvPr/>
        </p:nvSpPr>
        <p:spPr bwMode="auto">
          <a:xfrm>
            <a:off x="1938915" y="2410499"/>
            <a:ext cx="1262959" cy="415379"/>
          </a:xfrm>
          <a:prstGeom prst="line">
            <a:avLst/>
          </a:prstGeom>
          <a:noFill/>
          <a:ln w="57150" cap="rnd" cmpd="sng">
            <a:solidFill>
              <a:srgbClr val="FF6600"/>
            </a:solidFill>
            <a:prstDash val="sysDot"/>
            <a:rou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8" name="Line 12"/>
          <p:cNvSpPr>
            <a:spLocks noChangeShapeType="1"/>
          </p:cNvSpPr>
          <p:nvPr/>
        </p:nvSpPr>
        <p:spPr bwMode="auto">
          <a:xfrm flipV="1">
            <a:off x="4308882" y="2568703"/>
            <a:ext cx="915738" cy="257175"/>
          </a:xfrm>
          <a:prstGeom prst="line">
            <a:avLst/>
          </a:prstGeom>
          <a:noFill/>
          <a:ln w="57150" cap="rnd" cmpd="sng">
            <a:solidFill>
              <a:srgbClr val="FF6600"/>
            </a:solidFill>
            <a:prstDash val="sysDot"/>
            <a:rou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9" name="Line 13"/>
          <p:cNvSpPr>
            <a:spLocks noChangeShapeType="1"/>
          </p:cNvSpPr>
          <p:nvPr/>
        </p:nvSpPr>
        <p:spPr bwMode="auto">
          <a:xfrm flipV="1">
            <a:off x="6359827" y="1719105"/>
            <a:ext cx="894271" cy="425736"/>
          </a:xfrm>
          <a:prstGeom prst="line">
            <a:avLst/>
          </a:prstGeom>
          <a:noFill/>
          <a:ln w="57150" cap="rnd" cmpd="sng">
            <a:solidFill>
              <a:srgbClr val="FF6600"/>
            </a:solidFill>
            <a:prstDash val="sysDot"/>
            <a:round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1" name="Text Box 15"/>
          <p:cNvSpPr txBox="1">
            <a:spLocks noChangeArrowheads="1"/>
          </p:cNvSpPr>
          <p:nvPr/>
        </p:nvSpPr>
        <p:spPr bwMode="auto">
          <a:xfrm>
            <a:off x="3047043" y="3533418"/>
            <a:ext cx="1975221" cy="73866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1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1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1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</p:txBody>
      </p:sp>
      <p:sp>
        <p:nvSpPr>
          <p:cNvPr id="42" name="Text Box 16"/>
          <p:cNvSpPr txBox="1">
            <a:spLocks noChangeArrowheads="1"/>
          </p:cNvSpPr>
          <p:nvPr/>
        </p:nvSpPr>
        <p:spPr bwMode="auto">
          <a:xfrm>
            <a:off x="5210582" y="3101370"/>
            <a:ext cx="1975221" cy="73866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2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2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2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</p:txBody>
      </p:sp>
      <p:sp>
        <p:nvSpPr>
          <p:cNvPr id="43" name="Text Box 17"/>
          <p:cNvSpPr txBox="1">
            <a:spLocks noChangeArrowheads="1"/>
          </p:cNvSpPr>
          <p:nvPr/>
        </p:nvSpPr>
        <p:spPr bwMode="auto">
          <a:xfrm>
            <a:off x="570811" y="2957354"/>
            <a:ext cx="1975221" cy="73866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0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0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  <a:p>
            <a:pPr algn="l" eaLnBrk="0" hangingPunct="0"/>
            <a:r>
              <a:rPr lang="en-US" sz="1400" dirty="0" smtClean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2010.10   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a typeface="宋体" panose="02010600030101010101" pitchFamily="2" charset="-122"/>
              </a:rPr>
              <a:t>点击输入文字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宋体" panose="02010600030101010101" pitchFamily="2" charset="-122"/>
            </a:endParaRPr>
          </a:p>
        </p:txBody>
      </p:sp>
      <p:grpSp>
        <p:nvGrpSpPr>
          <p:cNvPr id="44" name="组合 50"/>
          <p:cNvGrpSpPr>
            <a:grpSpLocks noChangeAspect="1"/>
          </p:cNvGrpSpPr>
          <p:nvPr/>
        </p:nvGrpSpPr>
        <p:grpSpPr bwMode="auto">
          <a:xfrm>
            <a:off x="930851" y="1823810"/>
            <a:ext cx="1008064" cy="1008063"/>
            <a:chOff x="4776334" y="4404802"/>
            <a:chExt cx="1012167" cy="1008000"/>
          </a:xfrm>
        </p:grpSpPr>
        <p:sp>
          <p:nvSpPr>
            <p:cNvPr id="45" name="Oval 2"/>
            <p:cNvSpPr>
              <a:spLocks noChangeAspect="1" noChangeArrowheads="1"/>
            </p:cNvSpPr>
            <p:nvPr/>
          </p:nvSpPr>
          <p:spPr bwMode="auto">
            <a:xfrm>
              <a:off x="4780501" y="4404802"/>
              <a:ext cx="1008000" cy="100800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tx1">
                  <a:lumMod val="85000"/>
                </a:schemeClr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" name="椭圆 45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8" name="Text Box 5"/>
          <p:cNvSpPr txBox="1">
            <a:spLocks noChangeArrowheads="1"/>
          </p:cNvSpPr>
          <p:nvPr/>
        </p:nvSpPr>
        <p:spPr bwMode="auto">
          <a:xfrm>
            <a:off x="1074163" y="2159688"/>
            <a:ext cx="652743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anose="02010600030101010101" pitchFamily="2" charset="-122"/>
              </a:rPr>
              <a:t>2010</a:t>
            </a:r>
            <a:endParaRPr lang="zh-CN" altLang="en-US" b="1" dirty="0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  <p:grpSp>
        <p:nvGrpSpPr>
          <p:cNvPr id="49" name="组合 65"/>
          <p:cNvGrpSpPr>
            <a:grpSpLocks noChangeAspect="1"/>
          </p:cNvGrpSpPr>
          <p:nvPr/>
        </p:nvGrpSpPr>
        <p:grpSpPr bwMode="auto">
          <a:xfrm>
            <a:off x="3274269" y="2372947"/>
            <a:ext cx="1008062" cy="1008063"/>
            <a:chOff x="4776334" y="4404800"/>
            <a:chExt cx="1012166" cy="1008000"/>
          </a:xfrm>
        </p:grpSpPr>
        <p:sp>
          <p:nvSpPr>
            <p:cNvPr id="50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椭圆 50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2" name="椭圆 51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C000">
                    <a:alpha val="60000"/>
                  </a:srgbClr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53" name="Text Box 7"/>
          <p:cNvSpPr txBox="1">
            <a:spLocks noChangeArrowheads="1"/>
          </p:cNvSpPr>
          <p:nvPr/>
        </p:nvSpPr>
        <p:spPr bwMode="auto">
          <a:xfrm>
            <a:off x="3415780" y="2698393"/>
            <a:ext cx="652743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anose="02010600030101010101" pitchFamily="2" charset="-122"/>
              </a:rPr>
              <a:t>2011</a:t>
            </a:r>
            <a:endParaRPr lang="zh-CN" altLang="en-US" b="1" dirty="0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  <p:grpSp>
        <p:nvGrpSpPr>
          <p:cNvPr id="54" name="组合 55"/>
          <p:cNvGrpSpPr>
            <a:grpSpLocks noChangeAspect="1"/>
          </p:cNvGrpSpPr>
          <p:nvPr/>
        </p:nvGrpSpPr>
        <p:grpSpPr bwMode="auto">
          <a:xfrm>
            <a:off x="5297015" y="1817817"/>
            <a:ext cx="1008063" cy="1008062"/>
            <a:chOff x="4776334" y="4404800"/>
            <a:chExt cx="1012166" cy="1008000"/>
          </a:xfrm>
        </p:grpSpPr>
        <p:sp>
          <p:nvSpPr>
            <p:cNvPr id="55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C000"/>
                </a:gs>
                <a:gs pos="90000">
                  <a:srgbClr val="DE0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FFC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椭圆 55"/>
            <p:cNvSpPr/>
            <p:nvPr/>
          </p:nvSpPr>
          <p:spPr>
            <a:xfrm rot="19388639">
              <a:off x="4776334" y="4463533"/>
              <a:ext cx="683810" cy="46828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7" name="椭圆 56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A219"/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sp>
        <p:nvSpPr>
          <p:cNvPr id="58" name="Text Box 9"/>
          <p:cNvSpPr txBox="1">
            <a:spLocks noChangeArrowheads="1"/>
          </p:cNvSpPr>
          <p:nvPr/>
        </p:nvSpPr>
        <p:spPr bwMode="auto">
          <a:xfrm>
            <a:off x="5445502" y="2141850"/>
            <a:ext cx="652743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anose="02010600030101010101" pitchFamily="2" charset="-122"/>
              </a:rPr>
              <a:t>2012</a:t>
            </a:r>
            <a:endParaRPr lang="zh-CN" altLang="en-US" b="1" dirty="0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  <p:grpSp>
        <p:nvGrpSpPr>
          <p:cNvPr id="59" name="组合 50"/>
          <p:cNvGrpSpPr>
            <a:grpSpLocks noChangeAspect="1"/>
          </p:cNvGrpSpPr>
          <p:nvPr/>
        </p:nvGrpSpPr>
        <p:grpSpPr bwMode="auto">
          <a:xfrm>
            <a:off x="7249949" y="1059582"/>
            <a:ext cx="1008064" cy="1008063"/>
            <a:chOff x="4776334" y="4404802"/>
            <a:chExt cx="1012167" cy="1008000"/>
          </a:xfrm>
        </p:grpSpPr>
        <p:sp>
          <p:nvSpPr>
            <p:cNvPr id="60" name="Oval 2"/>
            <p:cNvSpPr>
              <a:spLocks noChangeAspect="1" noChangeArrowheads="1"/>
            </p:cNvSpPr>
            <p:nvPr/>
          </p:nvSpPr>
          <p:spPr bwMode="auto">
            <a:xfrm>
              <a:off x="4780501" y="4404802"/>
              <a:ext cx="1008000" cy="1008000"/>
            </a:xfrm>
            <a:prstGeom prst="ellipse">
              <a:avLst/>
            </a:prstGeom>
            <a:solidFill>
              <a:srgbClr val="F2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椭圆 60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3" name="Text Box 10"/>
          <p:cNvSpPr txBox="1">
            <a:spLocks noChangeArrowheads="1"/>
          </p:cNvSpPr>
          <p:nvPr/>
        </p:nvSpPr>
        <p:spPr bwMode="auto">
          <a:xfrm>
            <a:off x="7396902" y="1386374"/>
            <a:ext cx="652743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eaLnBrk="0" hangingPunct="0"/>
            <a:r>
              <a:rPr lang="en-US" b="1" dirty="0" smtClean="0">
                <a:solidFill>
                  <a:srgbClr val="FFFFFF"/>
                </a:solidFill>
                <a:ea typeface="宋体" panose="02010600030101010101" pitchFamily="2" charset="-122"/>
              </a:rPr>
              <a:t>20</a:t>
            </a:r>
            <a:r>
              <a:rPr lang="zh-CN" altLang="en-US" b="1" dirty="0" smtClean="0">
                <a:solidFill>
                  <a:srgbClr val="FFFFFF"/>
                </a:solidFill>
                <a:ea typeface="宋体" panose="02010600030101010101" pitchFamily="2" charset="-122"/>
              </a:rPr>
              <a:t>1</a:t>
            </a:r>
            <a:r>
              <a:rPr lang="en-US" altLang="zh-CN" b="1" dirty="0" smtClean="0">
                <a:solidFill>
                  <a:srgbClr val="FFFFFF"/>
                </a:solidFill>
                <a:ea typeface="宋体" panose="02010600030101010101" pitchFamily="2" charset="-122"/>
              </a:rPr>
              <a:t>3</a:t>
            </a:r>
            <a:endParaRPr lang="zh-CN" altLang="en-US" b="1" dirty="0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500"/>
                            </p:stCondLst>
                            <p:childTnLst>
                              <p:par>
                                <p:cTn id="5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500"/>
                            </p:stCondLst>
                            <p:childTnLst>
                              <p:par>
                                <p:cTn id="6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500"/>
                            </p:stCondLst>
                            <p:childTnLst>
                              <p:par>
                                <p:cTn id="7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500"/>
                            </p:stCondLst>
                            <p:childTnLst>
                              <p:par>
                                <p:cTn id="8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000"/>
                            </p:stCondLst>
                            <p:childTnLst>
                              <p:par>
                                <p:cTn id="8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 animBg="1"/>
      <p:bldP spid="38" grpId="0" animBg="1"/>
      <p:bldP spid="39" grpId="0" animBg="1"/>
      <p:bldP spid="41" grpId="0"/>
      <p:bldP spid="42" grpId="0"/>
      <p:bldP spid="43" grpId="0"/>
      <p:bldP spid="48" grpId="0"/>
      <p:bldP spid="53" grpId="0"/>
      <p:bldP spid="58" grpId="0"/>
      <p:bldP spid="6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11"/>
          <p:cNvSpPr>
            <a:spLocks noChangeArrowheads="1"/>
          </p:cNvSpPr>
          <p:nvPr/>
        </p:nvSpPr>
        <p:spPr bwMode="auto">
          <a:xfrm>
            <a:off x="2371948" y="1779269"/>
            <a:ext cx="4251197" cy="1577217"/>
          </a:xfrm>
          <a:prstGeom prst="ellipse">
            <a:avLst/>
          </a:prstGeom>
          <a:noFill/>
          <a:ln w="44450">
            <a:solidFill>
              <a:schemeClr val="tx1">
                <a:lumMod val="65000"/>
                <a:lumOff val="35000"/>
                <a:alpha val="50000"/>
              </a:schemeClr>
            </a:solidFill>
          </a:ln>
          <a:effectLst>
            <a:outerShdw blurRad="50800" dist="25400" dir="2700000" algn="tl" rotWithShape="0">
              <a:prstClr val="black">
                <a:alpha val="50000"/>
              </a:prstClr>
            </a:outerShdw>
          </a:effectLst>
          <a:scene3d>
            <a:camera prst="orthographicFront"/>
            <a:lightRig rig="flat" dir="t"/>
          </a:scene3d>
          <a:sp3d contourW="12700" prstMaterial="clear"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 bwMode="auto">
          <a:xfrm>
            <a:off x="6068982" y="968949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 bwMode="auto">
          <a:xfrm>
            <a:off x="6764235" y="2322502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 bwMode="auto">
          <a:xfrm>
            <a:off x="6075110" y="3682070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 bwMode="auto">
          <a:xfrm>
            <a:off x="1476846" y="968949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 bwMode="auto">
          <a:xfrm>
            <a:off x="755576" y="2322502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 bwMode="auto">
          <a:xfrm>
            <a:off x="1495597" y="3682070"/>
            <a:ext cx="1440000" cy="468000"/>
          </a:xfrm>
          <a:prstGeom prst="roundRect">
            <a:avLst>
              <a:gd name="adj" fmla="val 10417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" name="组合 39"/>
          <p:cNvGrpSpPr>
            <a:grpSpLocks noChangeAspect="1"/>
          </p:cNvGrpSpPr>
          <p:nvPr/>
        </p:nvGrpSpPr>
        <p:grpSpPr bwMode="auto">
          <a:xfrm>
            <a:off x="4964528" y="3412584"/>
            <a:ext cx="1008063" cy="1008062"/>
            <a:chOff x="4776334" y="4404800"/>
            <a:chExt cx="1012166" cy="1008000"/>
          </a:xfrm>
        </p:grpSpPr>
        <p:sp>
          <p:nvSpPr>
            <p:cNvPr id="11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gradFill flip="none" rotWithShape="1">
              <a:gsLst>
                <a:gs pos="0">
                  <a:srgbClr val="FFFF00"/>
                </a:gs>
                <a:gs pos="90000">
                  <a:srgbClr val="FFA219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C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/>
            <p:nvPr/>
          </p:nvSpPr>
          <p:spPr>
            <a:xfrm rot="19388639">
              <a:off x="4776334" y="4463533"/>
              <a:ext cx="683810" cy="46828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椭圆 12"/>
            <p:cNvSpPr>
              <a:spLocks noChangeAspect="1"/>
            </p:cNvSpPr>
            <p:nvPr/>
          </p:nvSpPr>
          <p:spPr>
            <a:xfrm>
              <a:off x="4888500" y="4512800"/>
              <a:ext cx="792000" cy="792000"/>
            </a:xfrm>
            <a:prstGeom prst="ellipse">
              <a:avLst/>
            </a:prstGeom>
            <a:gradFill flip="none" rotWithShape="1">
              <a:gsLst>
                <a:gs pos="10000">
                  <a:srgbClr val="FFFF00"/>
                </a:gs>
                <a:gs pos="7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" name="TextBox 146"/>
          <p:cNvSpPr txBox="1">
            <a:spLocks noChangeArrowheads="1"/>
          </p:cNvSpPr>
          <p:nvPr/>
        </p:nvSpPr>
        <p:spPr bwMode="auto">
          <a:xfrm>
            <a:off x="4927720" y="3746793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50"/>
          <p:cNvGrpSpPr>
            <a:grpSpLocks noChangeAspect="1"/>
          </p:cNvGrpSpPr>
          <p:nvPr/>
        </p:nvGrpSpPr>
        <p:grpSpPr bwMode="auto">
          <a:xfrm>
            <a:off x="3021428" y="699542"/>
            <a:ext cx="1008065" cy="1008062"/>
            <a:chOff x="4776334" y="4404800"/>
            <a:chExt cx="1012168" cy="1008000"/>
          </a:xfrm>
        </p:grpSpPr>
        <p:sp>
          <p:nvSpPr>
            <p:cNvPr id="16" name="Oval 2"/>
            <p:cNvSpPr>
              <a:spLocks noChangeAspect="1" noChangeArrowheads="1"/>
            </p:cNvSpPr>
            <p:nvPr/>
          </p:nvSpPr>
          <p:spPr bwMode="auto">
            <a:xfrm>
              <a:off x="4780502" y="4404800"/>
              <a:ext cx="1008000" cy="1008000"/>
            </a:xfrm>
            <a:prstGeom prst="ellipse">
              <a:avLst/>
            </a:prstGeom>
            <a:solidFill>
              <a:schemeClr val="accent1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椭圆 16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9" name="TextBox 146"/>
          <p:cNvSpPr txBox="1">
            <a:spLocks noChangeArrowheads="1"/>
          </p:cNvSpPr>
          <p:nvPr/>
        </p:nvSpPr>
        <p:spPr bwMode="auto">
          <a:xfrm>
            <a:off x="2990636" y="1033672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" name="组合 55"/>
          <p:cNvGrpSpPr>
            <a:grpSpLocks noChangeAspect="1"/>
          </p:cNvGrpSpPr>
          <p:nvPr/>
        </p:nvGrpSpPr>
        <p:grpSpPr bwMode="auto">
          <a:xfrm>
            <a:off x="3046828" y="3412584"/>
            <a:ext cx="1008063" cy="1008062"/>
            <a:chOff x="4776334" y="4404800"/>
            <a:chExt cx="1012166" cy="1008000"/>
          </a:xfrm>
        </p:grpSpPr>
        <p:sp>
          <p:nvSpPr>
            <p:cNvPr id="21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solidFill>
              <a:srgbClr val="FF66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FFC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 rot="19388639">
              <a:off x="4776334" y="4463533"/>
              <a:ext cx="683810" cy="468284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</a:endParaRPr>
            </a:p>
          </p:txBody>
        </p:sp>
      </p:grpSp>
      <p:grpSp>
        <p:nvGrpSpPr>
          <p:cNvPr id="24" name="组合 61"/>
          <p:cNvGrpSpPr>
            <a:grpSpLocks noChangeAspect="1"/>
          </p:cNvGrpSpPr>
          <p:nvPr/>
        </p:nvGrpSpPr>
        <p:grpSpPr bwMode="auto">
          <a:xfrm>
            <a:off x="5650328" y="2052096"/>
            <a:ext cx="1008063" cy="1008063"/>
            <a:chOff x="4776334" y="4404800"/>
            <a:chExt cx="1012166" cy="1008000"/>
          </a:xfrm>
        </p:grpSpPr>
        <p:sp>
          <p:nvSpPr>
            <p:cNvPr id="25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solidFill>
              <a:srgbClr val="FF6600"/>
            </a:solidFill>
            <a:ln w="25400">
              <a:solidFill>
                <a:srgbClr val="FF6600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66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椭圆 25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</a:endParaRPr>
            </a:p>
          </p:txBody>
        </p:sp>
      </p:grpSp>
      <p:grpSp>
        <p:nvGrpSpPr>
          <p:cNvPr id="28" name="组合 65"/>
          <p:cNvGrpSpPr>
            <a:grpSpLocks noChangeAspect="1"/>
          </p:cNvGrpSpPr>
          <p:nvPr/>
        </p:nvGrpSpPr>
        <p:grpSpPr bwMode="auto">
          <a:xfrm>
            <a:off x="2305466" y="2052096"/>
            <a:ext cx="1008062" cy="1008063"/>
            <a:chOff x="4776334" y="4404800"/>
            <a:chExt cx="1012166" cy="1008000"/>
          </a:xfrm>
        </p:grpSpPr>
        <p:sp>
          <p:nvSpPr>
            <p:cNvPr id="29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solidFill>
              <a:srgbClr val="F2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2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</a:endParaRPr>
            </a:p>
          </p:txBody>
        </p:sp>
      </p:grpSp>
      <p:grpSp>
        <p:nvGrpSpPr>
          <p:cNvPr id="32" name="组合 69"/>
          <p:cNvGrpSpPr>
            <a:grpSpLocks noChangeAspect="1"/>
          </p:cNvGrpSpPr>
          <p:nvPr/>
        </p:nvGrpSpPr>
        <p:grpSpPr bwMode="auto">
          <a:xfrm>
            <a:off x="4947066" y="699550"/>
            <a:ext cx="1008062" cy="1008064"/>
            <a:chOff x="4776334" y="4404800"/>
            <a:chExt cx="1012166" cy="1008000"/>
          </a:xfrm>
        </p:grpSpPr>
        <p:sp>
          <p:nvSpPr>
            <p:cNvPr id="33" name="Oval 2"/>
            <p:cNvSpPr>
              <a:spLocks noChangeAspect="1" noChangeArrowheads="1"/>
            </p:cNvSpPr>
            <p:nvPr/>
          </p:nvSpPr>
          <p:spPr bwMode="auto">
            <a:xfrm>
              <a:off x="4780500" y="4404800"/>
              <a:ext cx="1008000" cy="1008000"/>
            </a:xfrm>
            <a:prstGeom prst="ellipse">
              <a:avLst/>
            </a:prstGeom>
            <a:solidFill>
              <a:srgbClr val="FF0505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F2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椭圆 33"/>
            <p:cNvSpPr/>
            <p:nvPr/>
          </p:nvSpPr>
          <p:spPr>
            <a:xfrm rot="19388639">
              <a:off x="4776334" y="4463534"/>
              <a:ext cx="683810" cy="468283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effectLst/>
              </a:endParaRPr>
            </a:p>
          </p:txBody>
        </p:sp>
      </p:grpSp>
      <p:sp>
        <p:nvSpPr>
          <p:cNvPr id="36" name="TextBox 146"/>
          <p:cNvSpPr txBox="1">
            <a:spLocks noChangeArrowheads="1"/>
          </p:cNvSpPr>
          <p:nvPr/>
        </p:nvSpPr>
        <p:spPr bwMode="auto">
          <a:xfrm>
            <a:off x="3002667" y="3746793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TextBox 146"/>
          <p:cNvSpPr txBox="1">
            <a:spLocks noChangeArrowheads="1"/>
          </p:cNvSpPr>
          <p:nvPr/>
        </p:nvSpPr>
        <p:spPr bwMode="auto">
          <a:xfrm>
            <a:off x="2268741" y="2387225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TextBox 146"/>
          <p:cNvSpPr txBox="1">
            <a:spLocks noChangeArrowheads="1"/>
          </p:cNvSpPr>
          <p:nvPr/>
        </p:nvSpPr>
        <p:spPr bwMode="auto">
          <a:xfrm>
            <a:off x="5613520" y="2387225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TextBox 146"/>
          <p:cNvSpPr txBox="1">
            <a:spLocks noChangeArrowheads="1"/>
          </p:cNvSpPr>
          <p:nvPr/>
        </p:nvSpPr>
        <p:spPr bwMode="auto">
          <a:xfrm>
            <a:off x="4915689" y="1033672"/>
            <a:ext cx="1046960" cy="32316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5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5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706782" y="2340549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2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500"/>
                            </p:stCondLst>
                            <p:childTnLst>
                              <p:par>
                                <p:cTn id="8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7000"/>
                            </p:stCondLst>
                            <p:childTnLst>
                              <p:par>
                                <p:cTn id="96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8000"/>
                            </p:stCondLst>
                            <p:childTnLst>
                              <p:par>
                                <p:cTn id="103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000"/>
                            </p:stCondLst>
                            <p:childTnLst>
                              <p:par>
                                <p:cTn id="110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7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1000"/>
                            </p:stCondLst>
                            <p:childTnLst>
                              <p:par>
                                <p:cTn id="124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3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2500"/>
                            </p:stCondLst>
                            <p:childTnLst>
                              <p:par>
                                <p:cTn id="1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4" grpId="0"/>
      <p:bldP spid="19" grpId="0"/>
      <p:bldP spid="36" grpId="0"/>
      <p:bldP spid="37" grpId="0"/>
      <p:bldP spid="38" grpId="0"/>
      <p:bldP spid="39" grpId="0"/>
      <p:bldP spid="4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4"/>
          <p:cNvSpPr>
            <a:spLocks noChangeArrowheads="1"/>
          </p:cNvSpPr>
          <p:nvPr/>
        </p:nvSpPr>
        <p:spPr bwMode="auto">
          <a:xfrm>
            <a:off x="2649537" y="1080988"/>
            <a:ext cx="3743325" cy="3743325"/>
          </a:xfrm>
          <a:prstGeom prst="ellipse">
            <a:avLst/>
          </a:prstGeom>
          <a:gradFill rotWithShape="1">
            <a:gsLst>
              <a:gs pos="0">
                <a:srgbClr val="E6E6E6"/>
              </a:gs>
              <a:gs pos="14999">
                <a:srgbClr val="7D8496"/>
              </a:gs>
              <a:gs pos="53000">
                <a:srgbClr val="E6E6E6"/>
              </a:gs>
              <a:gs pos="67999">
                <a:srgbClr val="7D8496"/>
              </a:gs>
              <a:gs pos="92999">
                <a:srgbClr val="E6E6E6"/>
              </a:gs>
              <a:gs pos="100000">
                <a:srgbClr val="FFFFFF"/>
              </a:gs>
            </a:gsLst>
            <a:lin ang="18900000" scaled="1"/>
          </a:gradFill>
          <a:ln w="9525">
            <a:noFill/>
            <a:round/>
          </a:ln>
          <a:effectLst/>
        </p:spPr>
        <p:txBody>
          <a:bodyPr wrap="none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Oval 5"/>
          <p:cNvSpPr>
            <a:spLocks noChangeArrowheads="1"/>
          </p:cNvSpPr>
          <p:nvPr/>
        </p:nvSpPr>
        <p:spPr bwMode="auto">
          <a:xfrm>
            <a:off x="3143250" y="1560413"/>
            <a:ext cx="2749550" cy="2746375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50000">
                <a:srgbClr val="A1A1A1"/>
              </a:gs>
              <a:gs pos="100000">
                <a:srgbClr val="FFFFFF"/>
              </a:gs>
            </a:gsLst>
            <a:lin ang="18900000" scaled="1"/>
          </a:gradFill>
          <a:ln w="9525">
            <a:noFill/>
            <a:round/>
          </a:ln>
          <a:effectLst>
            <a:prstShdw prst="shdw17" dist="17961" dir="2700000">
              <a:srgbClr val="999999"/>
            </a:prstShdw>
          </a:effectLst>
        </p:spPr>
        <p:txBody>
          <a:bodyPr wrap="none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5546725" y="717451"/>
            <a:ext cx="2044700" cy="52322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179040" y="3492798"/>
            <a:ext cx="1944688" cy="5191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6681787" y="3308251"/>
            <a:ext cx="2046288" cy="5191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792189" y="660202"/>
            <a:ext cx="1443221" cy="1426874"/>
            <a:chOff x="3850927" y="1627089"/>
            <a:chExt cx="1443221" cy="1426874"/>
          </a:xfrm>
        </p:grpSpPr>
        <p:sp>
          <p:nvSpPr>
            <p:cNvPr id="16" name="Oval 16"/>
            <p:cNvSpPr>
              <a:spLocks noChangeArrowheads="1"/>
            </p:cNvSpPr>
            <p:nvPr/>
          </p:nvSpPr>
          <p:spPr bwMode="auto">
            <a:xfrm>
              <a:off x="3850927" y="1627089"/>
              <a:ext cx="1443221" cy="1426874"/>
            </a:xfrm>
            <a:prstGeom prst="ellipse">
              <a:avLst/>
            </a:prstGeom>
            <a:solidFill>
              <a:srgbClr val="3333CC">
                <a:alpha val="9999"/>
              </a:srgbClr>
            </a:soli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Oval 32"/>
            <p:cNvSpPr>
              <a:spLocks noChangeArrowheads="1"/>
            </p:cNvSpPr>
            <p:nvPr/>
          </p:nvSpPr>
          <p:spPr bwMode="auto">
            <a:xfrm>
              <a:off x="3858589" y="1635736"/>
              <a:ext cx="1398488" cy="1385277"/>
            </a:xfrm>
            <a:prstGeom prst="ellipse">
              <a:avLst/>
            </a:prstGeom>
            <a:solidFill>
              <a:srgbClr val="FF0000"/>
            </a:solidFill>
            <a:ln w="38100" cap="flat" cmpd="sng">
              <a:solidFill>
                <a:srgbClr val="F8F8F8">
                  <a:alpha val="75000"/>
                </a:srgbClr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9" name="Rectangle 34"/>
          <p:cNvSpPr>
            <a:spLocks noChangeArrowheads="1"/>
          </p:cNvSpPr>
          <p:nvPr/>
        </p:nvSpPr>
        <p:spPr bwMode="auto">
          <a:xfrm>
            <a:off x="3736975" y="1134963"/>
            <a:ext cx="1450975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文本</a:t>
            </a:r>
            <a:endParaRPr lang="en-US" b="1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2276475" y="2959001"/>
            <a:ext cx="1631950" cy="1612900"/>
            <a:chOff x="2335213" y="3925888"/>
            <a:chExt cx="1631950" cy="1612900"/>
          </a:xfrm>
        </p:grpSpPr>
        <p:grpSp>
          <p:nvGrpSpPr>
            <p:cNvPr id="21" name="Group 14"/>
            <p:cNvGrpSpPr/>
            <p:nvPr/>
          </p:nvGrpSpPr>
          <p:grpSpPr bwMode="auto">
            <a:xfrm>
              <a:off x="2335213" y="3925888"/>
              <a:ext cx="1631950" cy="1612900"/>
              <a:chOff x="0" y="0"/>
              <a:chExt cx="1110" cy="1096"/>
            </a:xfrm>
          </p:grpSpPr>
          <p:grpSp>
            <p:nvGrpSpPr>
              <p:cNvPr id="25" name="Group 15"/>
              <p:cNvGrpSpPr/>
              <p:nvPr/>
            </p:nvGrpSpPr>
            <p:grpSpPr bwMode="auto">
              <a:xfrm>
                <a:off x="0" y="0"/>
                <a:ext cx="1110" cy="1096"/>
                <a:chOff x="0" y="0"/>
                <a:chExt cx="1110" cy="1096"/>
              </a:xfrm>
            </p:grpSpPr>
            <p:sp>
              <p:nvSpPr>
                <p:cNvPr id="29" name="Oval 1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" name="Oval 20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6" name="Group 18"/>
              <p:cNvGrpSpPr/>
              <p:nvPr/>
            </p:nvGrpSpPr>
            <p:grpSpPr bwMode="auto">
              <a:xfrm>
                <a:off x="49" y="48"/>
                <a:ext cx="1026" cy="1014"/>
                <a:chOff x="0" y="0"/>
                <a:chExt cx="1110" cy="1096"/>
              </a:xfrm>
            </p:grpSpPr>
            <p:sp>
              <p:nvSpPr>
                <p:cNvPr id="27" name="Oval 22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" name="Oval 23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chemeClr val="accent2">
                    <a:alpha val="9999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23" name="Oval 36"/>
            <p:cNvSpPr>
              <a:spLocks noChangeArrowheads="1"/>
            </p:cNvSpPr>
            <p:nvPr/>
          </p:nvSpPr>
          <p:spPr bwMode="auto">
            <a:xfrm>
              <a:off x="2445714" y="4050323"/>
              <a:ext cx="1398488" cy="1385277"/>
            </a:xfrm>
            <a:prstGeom prst="ellipse">
              <a:avLst/>
            </a:prstGeom>
            <a:solidFill>
              <a:srgbClr val="FFC000"/>
            </a:solidFill>
            <a:ln w="38100" cap="flat" cmpd="sng">
              <a:solidFill>
                <a:srgbClr val="F8F8F8">
                  <a:alpha val="75000"/>
                </a:srgbClr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1" name="Rectangle 38"/>
          <p:cNvSpPr>
            <a:spLocks noChangeArrowheads="1"/>
          </p:cNvSpPr>
          <p:nvPr/>
        </p:nvSpPr>
        <p:spPr bwMode="auto">
          <a:xfrm>
            <a:off x="2355850" y="3568601"/>
            <a:ext cx="1450975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文本</a:t>
            </a:r>
            <a:endParaRPr lang="en-US" b="1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5006975" y="2959001"/>
            <a:ext cx="1631950" cy="1612900"/>
            <a:chOff x="5065713" y="3925888"/>
            <a:chExt cx="1631950" cy="1612900"/>
          </a:xfrm>
        </p:grpSpPr>
        <p:grpSp>
          <p:nvGrpSpPr>
            <p:cNvPr id="33" name="Group 21"/>
            <p:cNvGrpSpPr/>
            <p:nvPr/>
          </p:nvGrpSpPr>
          <p:grpSpPr bwMode="auto">
            <a:xfrm>
              <a:off x="5065713" y="3925888"/>
              <a:ext cx="1631950" cy="1612900"/>
              <a:chOff x="0" y="0"/>
              <a:chExt cx="1110" cy="1096"/>
            </a:xfrm>
          </p:grpSpPr>
          <p:grpSp>
            <p:nvGrpSpPr>
              <p:cNvPr id="40" name="Group 22"/>
              <p:cNvGrpSpPr/>
              <p:nvPr/>
            </p:nvGrpSpPr>
            <p:grpSpPr bwMode="auto">
              <a:xfrm>
                <a:off x="0" y="0"/>
                <a:ext cx="1110" cy="1096"/>
                <a:chOff x="0" y="0"/>
                <a:chExt cx="1110" cy="1096"/>
              </a:xfrm>
            </p:grpSpPr>
            <p:sp>
              <p:nvSpPr>
                <p:cNvPr id="44" name="Oval 26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chemeClr val="hlink">
                    <a:alpha val="9999"/>
                  </a:scheme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5" name="Oval 27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rgbClr val="817E00">
                    <a:alpha val="9999"/>
                  </a:srgb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41" name="Group 25"/>
              <p:cNvGrpSpPr/>
              <p:nvPr/>
            </p:nvGrpSpPr>
            <p:grpSpPr bwMode="auto">
              <a:xfrm>
                <a:off x="49" y="48"/>
                <a:ext cx="1026" cy="1014"/>
                <a:chOff x="0" y="0"/>
                <a:chExt cx="1110" cy="1096"/>
              </a:xfrm>
            </p:grpSpPr>
            <p:sp>
              <p:nvSpPr>
                <p:cNvPr id="42" name="Oval 29"/>
                <p:cNvSpPr>
                  <a:spLocks noChangeArrowheads="1"/>
                </p:cNvSpPr>
                <p:nvPr/>
              </p:nvSpPr>
              <p:spPr bwMode="auto">
                <a:xfrm>
                  <a:off x="0" y="0"/>
                  <a:ext cx="1110" cy="1096"/>
                </a:xfrm>
                <a:prstGeom prst="ellipse">
                  <a:avLst/>
                </a:prstGeom>
                <a:solidFill>
                  <a:srgbClr val="817E00">
                    <a:alpha val="9999"/>
                  </a:srgb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43" name="Oval 30"/>
                <p:cNvSpPr>
                  <a:spLocks noChangeArrowheads="1"/>
                </p:cNvSpPr>
                <p:nvPr/>
              </p:nvSpPr>
              <p:spPr bwMode="auto">
                <a:xfrm>
                  <a:off x="25" y="25"/>
                  <a:ext cx="1062" cy="1048"/>
                </a:xfrm>
                <a:prstGeom prst="ellipse">
                  <a:avLst/>
                </a:prstGeom>
                <a:solidFill>
                  <a:srgbClr val="817E00">
                    <a:alpha val="9999"/>
                  </a:srgbClr>
                </a:solidFill>
                <a:ln w="9525">
                  <a:noFill/>
                  <a:rou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CN" altLang="en-US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34" name="Group 36"/>
            <p:cNvGrpSpPr/>
            <p:nvPr/>
          </p:nvGrpSpPr>
          <p:grpSpPr bwMode="auto">
            <a:xfrm>
              <a:off x="5167313" y="3987800"/>
              <a:ext cx="1466850" cy="1447800"/>
              <a:chOff x="0" y="0"/>
              <a:chExt cx="751" cy="741"/>
            </a:xfrm>
          </p:grpSpPr>
          <p:sp>
            <p:nvSpPr>
              <p:cNvPr id="38" name="Oval 40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gradFill rotWithShape="1">
                <a:gsLst>
                  <a:gs pos="0">
                    <a:srgbClr val="0099CC"/>
                  </a:gs>
                  <a:gs pos="100000">
                    <a:srgbClr val="003141"/>
                  </a:gs>
                </a:gsLst>
                <a:lin ang="5400000" scaled="1"/>
              </a:gradFill>
              <a:ln w="38100" cap="flat" cmpd="sng">
                <a:solidFill>
                  <a:srgbClr val="F8F8F8">
                    <a:alpha val="75000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39" name="Picture 41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36" name="Oval 43"/>
            <p:cNvSpPr>
              <a:spLocks noChangeArrowheads="1"/>
            </p:cNvSpPr>
            <p:nvPr/>
          </p:nvSpPr>
          <p:spPr bwMode="auto">
            <a:xfrm>
              <a:off x="5188914" y="4050323"/>
              <a:ext cx="1398488" cy="1385277"/>
            </a:xfrm>
            <a:prstGeom prst="ellipse">
              <a:avLst/>
            </a:prstGeom>
            <a:solidFill>
              <a:srgbClr val="FFA219"/>
            </a:solidFill>
            <a:ln w="38100" cap="flat" cmpd="sng">
              <a:solidFill>
                <a:srgbClr val="F8F8F8">
                  <a:alpha val="75000"/>
                </a:srgbClr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5083175" y="3579713"/>
            <a:ext cx="1450975" cy="3693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rgbClr val="F8F8F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文本</a:t>
            </a:r>
            <a:endParaRPr lang="en-US" b="1" dirty="0">
              <a:solidFill>
                <a:srgbClr val="F8F8F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3100964" y="2620255"/>
            <a:ext cx="2659717" cy="5847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/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文本</a:t>
            </a:r>
            <a:endParaRPr lang="zh-CN" altLang="en-US" sz="3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6" grpId="0"/>
      <p:bldP spid="7" grpId="0"/>
      <p:bldP spid="19" grpId="0"/>
      <p:bldP spid="31" grpId="0"/>
      <p:bldP spid="46" grpId="0"/>
      <p:bldP spid="4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41"/>
          <p:cNvGrpSpPr/>
          <p:nvPr/>
        </p:nvGrpSpPr>
        <p:grpSpPr bwMode="auto">
          <a:xfrm>
            <a:off x="1035265" y="3427000"/>
            <a:ext cx="7234017" cy="519114"/>
            <a:chOff x="1082393" y="3929866"/>
            <a:chExt cx="7234017" cy="519113"/>
          </a:xfrm>
        </p:grpSpPr>
        <p:sp>
          <p:nvSpPr>
            <p:cNvPr id="9" name="AutoShape 13"/>
            <p:cNvSpPr>
              <a:spLocks noChangeArrowheads="1"/>
            </p:cNvSpPr>
            <p:nvPr/>
          </p:nvSpPr>
          <p:spPr bwMode="gray">
            <a:xfrm>
              <a:off x="1082393" y="3929866"/>
              <a:ext cx="7234017" cy="519113"/>
            </a:xfrm>
            <a:prstGeom prst="rightArrow">
              <a:avLst>
                <a:gd name="adj1" fmla="val 50000"/>
                <a:gd name="adj2" fmla="val 63206"/>
              </a:avLst>
            </a:prstGeom>
            <a:solidFill>
              <a:srgbClr val="808080"/>
            </a:solidFill>
            <a:ln w="9525">
              <a:noFill/>
              <a:miter lim="800000"/>
            </a:ln>
            <a:effectLst>
              <a:outerShdw dist="35921" dir="2700000" algn="ctr" rotWithShape="0">
                <a:srgbClr val="FF000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Text Box 14"/>
            <p:cNvSpPr txBox="1">
              <a:spLocks noChangeArrowheads="1"/>
            </p:cNvSpPr>
            <p:nvPr/>
          </p:nvSpPr>
          <p:spPr bwMode="gray">
            <a:xfrm>
              <a:off x="1869578" y="4018757"/>
              <a:ext cx="630238" cy="3048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11</a:t>
              </a:r>
              <a:endPara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" name="Text Box 15"/>
            <p:cNvSpPr txBox="1">
              <a:spLocks noChangeArrowheads="1"/>
            </p:cNvSpPr>
            <p:nvPr/>
          </p:nvSpPr>
          <p:spPr bwMode="gray">
            <a:xfrm>
              <a:off x="4261941" y="4018757"/>
              <a:ext cx="630237" cy="3048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12</a:t>
              </a:r>
              <a:endPara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" name="Text Box 16"/>
            <p:cNvSpPr txBox="1">
              <a:spLocks noChangeArrowheads="1"/>
            </p:cNvSpPr>
            <p:nvPr/>
          </p:nvSpPr>
          <p:spPr bwMode="gray">
            <a:xfrm>
              <a:off x="6486028" y="4018757"/>
              <a:ext cx="628650" cy="304800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13</a:t>
              </a:r>
              <a:endParaRPr lang="en-US" altLang="zh-CN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15" name="AutoShape 21"/>
          <p:cNvSpPr>
            <a:spLocks noChangeArrowheads="1"/>
          </p:cNvSpPr>
          <p:nvPr/>
        </p:nvSpPr>
        <p:spPr bwMode="gray">
          <a:xfrm>
            <a:off x="1177925" y="3087266"/>
            <a:ext cx="2208213" cy="428625"/>
          </a:xfrm>
          <a:prstGeom prst="bevel">
            <a:avLst>
              <a:gd name="adj" fmla="val 5903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AutoShape 22"/>
          <p:cNvSpPr>
            <a:spLocks noChangeArrowheads="1"/>
          </p:cNvSpPr>
          <p:nvPr/>
        </p:nvSpPr>
        <p:spPr bwMode="gray">
          <a:xfrm>
            <a:off x="3394075" y="2585616"/>
            <a:ext cx="2206625" cy="930275"/>
          </a:xfrm>
          <a:prstGeom prst="bevel">
            <a:avLst>
              <a:gd name="adj" fmla="val 3046"/>
            </a:avLst>
          </a:prstGeom>
          <a:gradFill>
            <a:gsLst>
              <a:gs pos="0">
                <a:srgbClr val="FF6600"/>
              </a:gs>
              <a:gs pos="100000">
                <a:srgbClr val="FFA219"/>
              </a:gs>
            </a:gsLst>
            <a:lin ang="16200000" scaled="0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AutoShape 23"/>
          <p:cNvSpPr>
            <a:spLocks noChangeArrowheads="1"/>
          </p:cNvSpPr>
          <p:nvPr/>
        </p:nvSpPr>
        <p:spPr bwMode="gray">
          <a:xfrm>
            <a:off x="5600700" y="2012529"/>
            <a:ext cx="2208213" cy="1503362"/>
          </a:xfrm>
          <a:prstGeom prst="bevel">
            <a:avLst>
              <a:gd name="adj" fmla="val 2481"/>
            </a:avLst>
          </a:prstGeom>
          <a:solidFill>
            <a:srgbClr val="FF0000"/>
          </a:solidFill>
          <a:ln w="9525">
            <a:noFill/>
            <a:miter lim="800000"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24"/>
          <p:cNvSpPr>
            <a:spLocks noChangeArrowheads="1"/>
          </p:cNvSpPr>
          <p:nvPr/>
        </p:nvSpPr>
        <p:spPr bwMode="black">
          <a:xfrm>
            <a:off x="1177925" y="1985541"/>
            <a:ext cx="2149475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171450" indent="-17145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</a:t>
            </a: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 Box 27"/>
          <p:cNvSpPr txBox="1">
            <a:spLocks noChangeArrowheads="1"/>
          </p:cNvSpPr>
          <p:nvPr/>
        </p:nvSpPr>
        <p:spPr bwMode="black">
          <a:xfrm>
            <a:off x="1393825" y="3146351"/>
            <a:ext cx="1719263" cy="33813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600" b="1" dirty="0" smtClean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</a:t>
            </a:r>
            <a:r>
              <a:rPr lang="zh-CN" altLang="en-US" sz="1600" b="1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en-US" altLang="zh-CN" sz="1600" b="1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0" name="组合 42"/>
          <p:cNvGrpSpPr/>
          <p:nvPr/>
        </p:nvGrpSpPr>
        <p:grpSpPr bwMode="auto">
          <a:xfrm>
            <a:off x="1393825" y="4000083"/>
            <a:ext cx="2713038" cy="417513"/>
            <a:chOff x="1440953" y="4502944"/>
            <a:chExt cx="2713038" cy="417513"/>
          </a:xfrm>
        </p:grpSpPr>
        <p:sp>
          <p:nvSpPr>
            <p:cNvPr id="25" name="AutoShape 5"/>
            <p:cNvSpPr>
              <a:spLocks noChangeArrowheads="1"/>
            </p:cNvSpPr>
            <p:nvPr/>
          </p:nvSpPr>
          <p:spPr bwMode="gray">
            <a:xfrm>
              <a:off x="1440953" y="4502944"/>
              <a:ext cx="2713038" cy="417513"/>
            </a:xfrm>
            <a:prstGeom prst="roundRect">
              <a:avLst>
                <a:gd name="adj" fmla="val 27917"/>
              </a:avLst>
            </a:prstGeom>
            <a:solidFill>
              <a:srgbClr val="FF6600"/>
            </a:solidFill>
            <a:ln w="9525">
              <a:noFill/>
              <a:round/>
            </a:ln>
            <a:effectLst>
              <a:outerShdw dist="25400" dir="5400000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Rectangle 28"/>
            <p:cNvSpPr>
              <a:spLocks noChangeArrowheads="1"/>
            </p:cNvSpPr>
            <p:nvPr/>
          </p:nvSpPr>
          <p:spPr bwMode="white">
            <a:xfrm>
              <a:off x="2076886" y="4553744"/>
              <a:ext cx="1415772" cy="33855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输入</a:t>
              </a: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7" name="Text Box 32"/>
          <p:cNvSpPr txBox="1">
            <a:spLocks noChangeArrowheads="1"/>
          </p:cNvSpPr>
          <p:nvPr/>
        </p:nvSpPr>
        <p:spPr bwMode="black">
          <a:xfrm>
            <a:off x="3613150" y="2871366"/>
            <a:ext cx="1719263" cy="338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 Box 33"/>
          <p:cNvSpPr txBox="1">
            <a:spLocks noChangeArrowheads="1"/>
          </p:cNvSpPr>
          <p:nvPr/>
        </p:nvSpPr>
        <p:spPr bwMode="black">
          <a:xfrm>
            <a:off x="5802313" y="2618954"/>
            <a:ext cx="1719262" cy="33813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</a:t>
            </a: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Rectangle 24"/>
          <p:cNvSpPr>
            <a:spLocks noChangeArrowheads="1"/>
          </p:cNvSpPr>
          <p:nvPr/>
        </p:nvSpPr>
        <p:spPr bwMode="black">
          <a:xfrm>
            <a:off x="3411538" y="1458491"/>
            <a:ext cx="2149475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228600" indent="-22860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Rectangle 24"/>
          <p:cNvSpPr>
            <a:spLocks noChangeArrowheads="1"/>
          </p:cNvSpPr>
          <p:nvPr/>
        </p:nvSpPr>
        <p:spPr bwMode="black">
          <a:xfrm>
            <a:off x="5611813" y="915566"/>
            <a:ext cx="2149475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marL="171450" indent="-17145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ctr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chemeClr val="bg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输入文本</a:t>
            </a:r>
            <a:endParaRPr lang="en-US" altLang="zh-CN" sz="1200" dirty="0">
              <a:solidFill>
                <a:schemeClr val="bg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1" name="组合 43"/>
          <p:cNvGrpSpPr/>
          <p:nvPr/>
        </p:nvGrpSpPr>
        <p:grpSpPr bwMode="auto">
          <a:xfrm>
            <a:off x="4830763" y="4000083"/>
            <a:ext cx="2713037" cy="417513"/>
            <a:chOff x="4877891" y="4502944"/>
            <a:chExt cx="2713037" cy="417513"/>
          </a:xfrm>
        </p:grpSpPr>
        <p:sp>
          <p:nvSpPr>
            <p:cNvPr id="36" name="AutoShape 9"/>
            <p:cNvSpPr>
              <a:spLocks noChangeArrowheads="1"/>
            </p:cNvSpPr>
            <p:nvPr/>
          </p:nvSpPr>
          <p:spPr bwMode="gray">
            <a:xfrm>
              <a:off x="4877891" y="4502944"/>
              <a:ext cx="2713037" cy="417513"/>
            </a:xfrm>
            <a:prstGeom prst="roundRect">
              <a:avLst>
                <a:gd name="adj" fmla="val 27917"/>
              </a:avLst>
            </a:prstGeom>
            <a:solidFill>
              <a:srgbClr val="FF0000"/>
            </a:solidFill>
            <a:ln w="9525">
              <a:noFill/>
              <a:round/>
            </a:ln>
            <a:effectLst>
              <a:outerShdw dist="25400" dir="5400000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Rectangle 29"/>
            <p:cNvSpPr>
              <a:spLocks noChangeArrowheads="1"/>
            </p:cNvSpPr>
            <p:nvPr/>
          </p:nvSpPr>
          <p:spPr bwMode="white">
            <a:xfrm>
              <a:off x="5515411" y="4553744"/>
              <a:ext cx="1415772" cy="33855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non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输入</a:t>
              </a: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7" grpId="0"/>
      <p:bldP spid="28" grpId="0"/>
      <p:bldP spid="29" grpId="0"/>
      <p:bldP spid="3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燕尾形 2"/>
          <p:cNvSpPr/>
          <p:nvPr/>
        </p:nvSpPr>
        <p:spPr bwMode="auto">
          <a:xfrm>
            <a:off x="676200" y="2751384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AutoShape 81"/>
          <p:cNvSpPr>
            <a:spLocks noChangeArrowheads="1"/>
          </p:cNvSpPr>
          <p:nvPr/>
        </p:nvSpPr>
        <p:spPr bwMode="auto">
          <a:xfrm>
            <a:off x="1263960" y="1338472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425960" y="1075756"/>
            <a:ext cx="1296000" cy="432000"/>
            <a:chOff x="1423527" y="2056236"/>
            <a:chExt cx="1296000" cy="432000"/>
          </a:xfrm>
        </p:grpSpPr>
        <p:sp>
          <p:nvSpPr>
            <p:cNvPr id="7" name="圆角矩形 6"/>
            <p:cNvSpPr/>
            <p:nvPr/>
          </p:nvSpPr>
          <p:spPr bwMode="auto">
            <a:xfrm>
              <a:off x="1423527" y="2056236"/>
              <a:ext cx="1296000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TextBox 22"/>
            <p:cNvSpPr txBox="1">
              <a:spLocks noChangeArrowheads="1"/>
            </p:cNvSpPr>
            <p:nvPr/>
          </p:nvSpPr>
          <p:spPr bwMode="auto">
            <a:xfrm>
              <a:off x="1476375" y="2126606"/>
              <a:ext cx="1190625" cy="30797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标题一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" name="AutoShape 69"/>
          <p:cNvSpPr>
            <a:spLocks noChangeArrowheads="1"/>
          </p:cNvSpPr>
          <p:nvPr/>
        </p:nvSpPr>
        <p:spPr bwMode="gray">
          <a:xfrm rot="5400000">
            <a:off x="1929960" y="2861680"/>
            <a:ext cx="288000" cy="432000"/>
          </a:xfrm>
          <a:prstGeom prst="chevron">
            <a:avLst>
              <a:gd name="adj" fmla="val 52514"/>
            </a:avLst>
          </a:prstGeom>
          <a:solidFill>
            <a:srgbClr val="FFA219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contourW="12700">
            <a:bevelT w="63500" h="25400"/>
            <a:contourClr>
              <a:schemeClr val="tx1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237508" y="3403551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b="1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389452" y="1668413"/>
            <a:ext cx="1483181" cy="315913"/>
            <a:chOff x="1387019" y="2648893"/>
            <a:chExt cx="1483181" cy="315913"/>
          </a:xfrm>
        </p:grpSpPr>
        <p:sp>
          <p:nvSpPr>
            <p:cNvPr id="12" name="矩形 11"/>
            <p:cNvSpPr/>
            <p:nvPr/>
          </p:nvSpPr>
          <p:spPr>
            <a:xfrm>
              <a:off x="1439863" y="2648893"/>
              <a:ext cx="1430337" cy="3159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椭圆 12"/>
            <p:cNvSpPr/>
            <p:nvPr/>
          </p:nvSpPr>
          <p:spPr bwMode="auto">
            <a:xfrm>
              <a:off x="1387019" y="2748113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389452" y="2068463"/>
            <a:ext cx="1483181" cy="314325"/>
            <a:chOff x="1387019" y="3048943"/>
            <a:chExt cx="1483181" cy="314325"/>
          </a:xfrm>
        </p:grpSpPr>
        <p:sp>
          <p:nvSpPr>
            <p:cNvPr id="15" name="矩形 14"/>
            <p:cNvSpPr/>
            <p:nvPr/>
          </p:nvSpPr>
          <p:spPr>
            <a:xfrm>
              <a:off x="1439863" y="304894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椭圆 15"/>
            <p:cNvSpPr/>
            <p:nvPr/>
          </p:nvSpPr>
          <p:spPr bwMode="auto">
            <a:xfrm>
              <a:off x="1387019" y="3147901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1389452" y="2481213"/>
            <a:ext cx="1483181" cy="314325"/>
            <a:chOff x="1387019" y="3461693"/>
            <a:chExt cx="1483181" cy="314325"/>
          </a:xfrm>
        </p:grpSpPr>
        <p:sp>
          <p:nvSpPr>
            <p:cNvPr id="18" name="矩形 17"/>
            <p:cNvSpPr/>
            <p:nvPr/>
          </p:nvSpPr>
          <p:spPr>
            <a:xfrm>
              <a:off x="1439863" y="346169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椭圆 18"/>
            <p:cNvSpPr/>
            <p:nvPr/>
          </p:nvSpPr>
          <p:spPr bwMode="auto">
            <a:xfrm>
              <a:off x="1387019" y="3559722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" name="燕尾形 19"/>
          <p:cNvSpPr/>
          <p:nvPr/>
        </p:nvSpPr>
        <p:spPr bwMode="auto">
          <a:xfrm>
            <a:off x="3072273" y="2743599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AutoShape 81"/>
          <p:cNvSpPr>
            <a:spLocks noChangeArrowheads="1"/>
          </p:cNvSpPr>
          <p:nvPr/>
        </p:nvSpPr>
        <p:spPr bwMode="auto">
          <a:xfrm>
            <a:off x="3660033" y="1330687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3822033" y="1067971"/>
            <a:ext cx="1296000" cy="432000"/>
            <a:chOff x="1423527" y="2056236"/>
            <a:chExt cx="1296000" cy="432000"/>
          </a:xfrm>
        </p:grpSpPr>
        <p:sp>
          <p:nvSpPr>
            <p:cNvPr id="23" name="圆角矩形 22"/>
            <p:cNvSpPr/>
            <p:nvPr/>
          </p:nvSpPr>
          <p:spPr bwMode="auto">
            <a:xfrm>
              <a:off x="1423527" y="2056236"/>
              <a:ext cx="1296000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TextBox 22"/>
            <p:cNvSpPr txBox="1">
              <a:spLocks noChangeArrowheads="1"/>
            </p:cNvSpPr>
            <p:nvPr/>
          </p:nvSpPr>
          <p:spPr bwMode="auto">
            <a:xfrm>
              <a:off x="1476375" y="2126606"/>
              <a:ext cx="1190625" cy="30797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标题一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5" name="AutoShape 69"/>
          <p:cNvSpPr>
            <a:spLocks noChangeArrowheads="1"/>
          </p:cNvSpPr>
          <p:nvPr/>
        </p:nvSpPr>
        <p:spPr bwMode="gray">
          <a:xfrm rot="5400000">
            <a:off x="4326033" y="2853895"/>
            <a:ext cx="288000" cy="432000"/>
          </a:xfrm>
          <a:prstGeom prst="chevron">
            <a:avLst>
              <a:gd name="adj" fmla="val 52514"/>
            </a:avLst>
          </a:prstGeom>
          <a:solidFill>
            <a:srgbClr val="FFA219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contourW="12700">
            <a:bevelT w="63500" h="25400"/>
            <a:contourClr>
              <a:schemeClr val="tx1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633581" y="3395766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b="1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3785525" y="1660628"/>
            <a:ext cx="1483181" cy="315913"/>
            <a:chOff x="1387019" y="2648893"/>
            <a:chExt cx="1483181" cy="315913"/>
          </a:xfrm>
        </p:grpSpPr>
        <p:sp>
          <p:nvSpPr>
            <p:cNvPr id="28" name="矩形 27"/>
            <p:cNvSpPr/>
            <p:nvPr/>
          </p:nvSpPr>
          <p:spPr>
            <a:xfrm>
              <a:off x="1439863" y="2648893"/>
              <a:ext cx="1430337" cy="3159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椭圆 28"/>
            <p:cNvSpPr/>
            <p:nvPr/>
          </p:nvSpPr>
          <p:spPr bwMode="auto">
            <a:xfrm>
              <a:off x="1387019" y="2748113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3785525" y="2060678"/>
            <a:ext cx="1483181" cy="314325"/>
            <a:chOff x="1387019" y="3048943"/>
            <a:chExt cx="1483181" cy="314325"/>
          </a:xfrm>
        </p:grpSpPr>
        <p:sp>
          <p:nvSpPr>
            <p:cNvPr id="31" name="矩形 30"/>
            <p:cNvSpPr/>
            <p:nvPr/>
          </p:nvSpPr>
          <p:spPr>
            <a:xfrm>
              <a:off x="1439863" y="304894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椭圆 31"/>
            <p:cNvSpPr/>
            <p:nvPr/>
          </p:nvSpPr>
          <p:spPr bwMode="auto">
            <a:xfrm>
              <a:off x="1387019" y="3147901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3785525" y="2473428"/>
            <a:ext cx="1483181" cy="314325"/>
            <a:chOff x="1387019" y="3461693"/>
            <a:chExt cx="1483181" cy="314325"/>
          </a:xfrm>
        </p:grpSpPr>
        <p:sp>
          <p:nvSpPr>
            <p:cNvPr id="34" name="矩形 33"/>
            <p:cNvSpPr/>
            <p:nvPr/>
          </p:nvSpPr>
          <p:spPr>
            <a:xfrm>
              <a:off x="1439863" y="346169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椭圆 34"/>
            <p:cNvSpPr/>
            <p:nvPr/>
          </p:nvSpPr>
          <p:spPr bwMode="auto">
            <a:xfrm>
              <a:off x="1387019" y="3559722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6" name="燕尾形 35"/>
          <p:cNvSpPr/>
          <p:nvPr/>
        </p:nvSpPr>
        <p:spPr bwMode="auto">
          <a:xfrm>
            <a:off x="5502284" y="2735210"/>
            <a:ext cx="2340000" cy="2160000"/>
          </a:xfrm>
          <a:prstGeom prst="chevron">
            <a:avLst>
              <a:gd name="adj" fmla="val 26048"/>
            </a:avLst>
          </a:prstGeom>
          <a:gradFill flip="none" rotWithShape="1">
            <a:gsLst>
              <a:gs pos="2500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>
              <a:rot lat="17099998" lon="0" rev="0"/>
            </a:camera>
            <a:lightRig rig="flat" dir="t"/>
          </a:scene3d>
          <a:sp3d extrusionH="127000" contourW="19050">
            <a:bevelT w="101600" prst="convex"/>
            <a:bevelB w="0" h="254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AutoShape 81"/>
          <p:cNvSpPr>
            <a:spLocks noChangeArrowheads="1"/>
          </p:cNvSpPr>
          <p:nvPr/>
        </p:nvSpPr>
        <p:spPr bwMode="auto">
          <a:xfrm>
            <a:off x="6090044" y="1322298"/>
            <a:ext cx="1620000" cy="2520000"/>
          </a:xfrm>
          <a:prstGeom prst="roundRect">
            <a:avLst>
              <a:gd name="adj" fmla="val 5005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50000">
                  <a:srgbClr val="FFCF01"/>
                </a:gs>
                <a:gs pos="100000">
                  <a:srgbClr val="E2200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6252044" y="1059582"/>
            <a:ext cx="1296000" cy="432000"/>
            <a:chOff x="1423527" y="2056236"/>
            <a:chExt cx="1296000" cy="432000"/>
          </a:xfrm>
        </p:grpSpPr>
        <p:sp>
          <p:nvSpPr>
            <p:cNvPr id="39" name="圆角矩形 38"/>
            <p:cNvSpPr/>
            <p:nvPr/>
          </p:nvSpPr>
          <p:spPr bwMode="auto">
            <a:xfrm>
              <a:off x="1423527" y="2056236"/>
              <a:ext cx="1296000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TextBox 22"/>
            <p:cNvSpPr txBox="1">
              <a:spLocks noChangeArrowheads="1"/>
            </p:cNvSpPr>
            <p:nvPr/>
          </p:nvSpPr>
          <p:spPr bwMode="auto">
            <a:xfrm>
              <a:off x="1476375" y="2126606"/>
              <a:ext cx="1190625" cy="30797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标题一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1" name="AutoShape 69"/>
          <p:cNvSpPr>
            <a:spLocks noChangeArrowheads="1"/>
          </p:cNvSpPr>
          <p:nvPr/>
        </p:nvSpPr>
        <p:spPr bwMode="gray">
          <a:xfrm rot="5400000">
            <a:off x="6756044" y="2845506"/>
            <a:ext cx="288000" cy="432000"/>
          </a:xfrm>
          <a:prstGeom prst="chevron">
            <a:avLst>
              <a:gd name="adj" fmla="val 52514"/>
            </a:avLst>
          </a:prstGeom>
          <a:solidFill>
            <a:srgbClr val="FFA219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contourW="12700">
            <a:bevelT w="63500" h="25400"/>
            <a:contourClr>
              <a:schemeClr val="tx1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6063592" y="3387377"/>
            <a:ext cx="1635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b="1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b="1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6215536" y="1652239"/>
            <a:ext cx="1483181" cy="315913"/>
            <a:chOff x="1387019" y="2648893"/>
            <a:chExt cx="1483181" cy="315913"/>
          </a:xfrm>
        </p:grpSpPr>
        <p:sp>
          <p:nvSpPr>
            <p:cNvPr id="44" name="矩形 43"/>
            <p:cNvSpPr/>
            <p:nvPr/>
          </p:nvSpPr>
          <p:spPr>
            <a:xfrm>
              <a:off x="1439863" y="2648893"/>
              <a:ext cx="1430337" cy="31591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椭圆 44"/>
            <p:cNvSpPr/>
            <p:nvPr/>
          </p:nvSpPr>
          <p:spPr bwMode="auto">
            <a:xfrm>
              <a:off x="1387019" y="2748113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6215536" y="2052289"/>
            <a:ext cx="1483181" cy="314325"/>
            <a:chOff x="1387019" y="3048943"/>
            <a:chExt cx="1483181" cy="314325"/>
          </a:xfrm>
        </p:grpSpPr>
        <p:sp>
          <p:nvSpPr>
            <p:cNvPr id="47" name="矩形 46"/>
            <p:cNvSpPr/>
            <p:nvPr/>
          </p:nvSpPr>
          <p:spPr>
            <a:xfrm>
              <a:off x="1439863" y="304894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8" name="椭圆 47"/>
            <p:cNvSpPr/>
            <p:nvPr/>
          </p:nvSpPr>
          <p:spPr bwMode="auto">
            <a:xfrm>
              <a:off x="1387019" y="3147901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6215536" y="2465039"/>
            <a:ext cx="1483181" cy="314325"/>
            <a:chOff x="1387019" y="3461693"/>
            <a:chExt cx="1483181" cy="314325"/>
          </a:xfrm>
        </p:grpSpPr>
        <p:sp>
          <p:nvSpPr>
            <p:cNvPr id="50" name="矩形 49"/>
            <p:cNvSpPr/>
            <p:nvPr/>
          </p:nvSpPr>
          <p:spPr>
            <a:xfrm>
              <a:off x="1439863" y="3461693"/>
              <a:ext cx="1430337" cy="31432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defTabSz="913130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zh-CN" altLang="en-US" sz="1400" spc="50" dirty="0">
                  <a:ln w="11430"/>
                  <a:solidFill>
                    <a:schemeClr val="tx2">
                      <a:lumMod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椭圆 50"/>
            <p:cNvSpPr/>
            <p:nvPr/>
          </p:nvSpPr>
          <p:spPr bwMode="auto">
            <a:xfrm>
              <a:off x="1387019" y="3559722"/>
              <a:ext cx="113258" cy="117560"/>
            </a:xfrm>
            <a:prstGeom prst="ellipse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0"/>
                            </p:stCondLst>
                            <p:childTnLst>
                              <p:par>
                                <p:cTn id="4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500"/>
                            </p:stCondLst>
                            <p:childTnLst>
                              <p:par>
                                <p:cTn id="5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900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000"/>
                            </p:stCondLst>
                            <p:childTnLst>
                              <p:par>
                                <p:cTn id="6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9500"/>
                            </p:stCondLst>
                            <p:childTnLst>
                              <p:par>
                                <p:cTn id="8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000"/>
                            </p:stCondLst>
                            <p:childTnLst>
                              <p:par>
                                <p:cTn id="86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900" decel="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000"/>
                            </p:stCondLst>
                            <p:childTnLst>
                              <p:par>
                                <p:cTn id="9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1500"/>
                            </p:stCondLst>
                            <p:childTnLst>
                              <p:par>
                                <p:cTn id="9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9" grpId="0" animBg="1"/>
      <p:bldP spid="10" grpId="0"/>
      <p:bldP spid="20" grpId="0" animBg="1"/>
      <p:bldP spid="21" grpId="0" animBg="1"/>
      <p:bldP spid="25" grpId="0" animBg="1"/>
      <p:bldP spid="26" grpId="0"/>
      <p:bldP spid="36" grpId="0" animBg="1"/>
      <p:bldP spid="37" grpId="0" animBg="1"/>
      <p:bldP spid="41" grpId="0" animBg="1"/>
      <p:bldP spid="4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098860" y="2065528"/>
            <a:ext cx="1980000" cy="1620000"/>
            <a:chOff x="1098860" y="2811951"/>
            <a:chExt cx="1980000" cy="1620000"/>
          </a:xfrm>
        </p:grpSpPr>
        <p:sp>
          <p:nvSpPr>
            <p:cNvPr id="5" name="上箭头 4"/>
            <p:cNvSpPr/>
            <p:nvPr/>
          </p:nvSpPr>
          <p:spPr>
            <a:xfrm>
              <a:off x="1098860" y="2811951"/>
              <a:ext cx="1980000" cy="1620000"/>
            </a:xfrm>
            <a:prstGeom prst="upArrow">
              <a:avLst>
                <a:gd name="adj1" fmla="val 61884"/>
                <a:gd name="adj2" fmla="val 4961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162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6472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5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3424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4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0376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2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545281" y="1705528"/>
            <a:ext cx="1980000" cy="1980000"/>
            <a:chOff x="3545281" y="2451951"/>
            <a:chExt cx="1980000" cy="1980000"/>
          </a:xfrm>
        </p:grpSpPr>
        <p:sp>
          <p:nvSpPr>
            <p:cNvPr id="10" name="上箭头 9"/>
            <p:cNvSpPr/>
            <p:nvPr/>
          </p:nvSpPr>
          <p:spPr>
            <a:xfrm>
              <a:off x="3545281" y="2451951"/>
              <a:ext cx="1980000" cy="1980000"/>
            </a:xfrm>
            <a:prstGeom prst="upArrow">
              <a:avLst>
                <a:gd name="adj1" fmla="val 61884"/>
                <a:gd name="adj2" fmla="val 41845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162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36472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5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33424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4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30376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2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AutoShape 69"/>
            <p:cNvSpPr>
              <a:spLocks noChangeArrowheads="1"/>
            </p:cNvSpPr>
            <p:nvPr/>
          </p:nvSpPr>
          <p:spPr bwMode="gray">
            <a:xfrm rot="16200000" flipV="1">
              <a:off x="4391819" y="27328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1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5" name="矩形 14"/>
          <p:cNvSpPr/>
          <p:nvPr/>
        </p:nvSpPr>
        <p:spPr>
          <a:xfrm>
            <a:off x="1373188" y="1515765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816350" y="1131590"/>
            <a:ext cx="1430338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椭圆 16"/>
          <p:cNvSpPr/>
          <p:nvPr/>
        </p:nvSpPr>
        <p:spPr bwMode="auto">
          <a:xfrm>
            <a:off x="1044860" y="2814217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90000">
                <a:srgbClr val="C00000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/>
        </p:nvSpPr>
        <p:spPr bwMode="auto">
          <a:xfrm>
            <a:off x="1311348" y="3400940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分标题一</a:t>
            </a:r>
            <a:endParaRPr lang="zh-CN" altLang="en-US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椭圆 18"/>
          <p:cNvSpPr/>
          <p:nvPr/>
        </p:nvSpPr>
        <p:spPr bwMode="auto">
          <a:xfrm>
            <a:off x="3491281" y="2814217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90000">
                <a:srgbClr val="DE0000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20" name="TextBox 20"/>
          <p:cNvSpPr txBox="1">
            <a:spLocks noChangeArrowheads="1"/>
          </p:cNvSpPr>
          <p:nvPr/>
        </p:nvSpPr>
        <p:spPr bwMode="auto">
          <a:xfrm>
            <a:off x="3757769" y="3400940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分标题二</a:t>
            </a:r>
            <a:endParaRPr lang="zh-CN" altLang="en-US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6005989" y="2086288"/>
            <a:ext cx="1980000" cy="1620000"/>
            <a:chOff x="1098860" y="2811951"/>
            <a:chExt cx="1980000" cy="1620000"/>
          </a:xfrm>
        </p:grpSpPr>
        <p:sp>
          <p:nvSpPr>
            <p:cNvPr id="22" name="上箭头 21"/>
            <p:cNvSpPr/>
            <p:nvPr/>
          </p:nvSpPr>
          <p:spPr>
            <a:xfrm>
              <a:off x="1098860" y="2811951"/>
              <a:ext cx="1980000" cy="1620000"/>
            </a:xfrm>
            <a:prstGeom prst="upArrow">
              <a:avLst>
                <a:gd name="adj1" fmla="val 61884"/>
                <a:gd name="adj2" fmla="val 4961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16200000" scaled="1"/>
              <a:tileRect/>
            </a:gradFill>
            <a:ln w="31750">
              <a:solidFill>
                <a:schemeClr val="bg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2540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5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6472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5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3424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40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AutoShape 69"/>
            <p:cNvSpPr>
              <a:spLocks noChangeArrowheads="1"/>
            </p:cNvSpPr>
            <p:nvPr/>
          </p:nvSpPr>
          <p:spPr bwMode="gray">
            <a:xfrm rot="16200000" flipV="1">
              <a:off x="1945481" y="3037682"/>
              <a:ext cx="287337" cy="431800"/>
            </a:xfrm>
            <a:prstGeom prst="chevron">
              <a:avLst>
                <a:gd name="adj" fmla="val 52514"/>
              </a:avLst>
            </a:prstGeom>
            <a:noFill/>
            <a:ln w="19050">
              <a:solidFill>
                <a:schemeClr val="bg1">
                  <a:alpha val="25000"/>
                </a:schemeClr>
              </a:solidFill>
              <a:prstDash val="sysDash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6" name="矩形 25"/>
          <p:cNvSpPr/>
          <p:nvPr/>
        </p:nvSpPr>
        <p:spPr>
          <a:xfrm>
            <a:off x="6280317" y="1536525"/>
            <a:ext cx="1430337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椭圆 26"/>
          <p:cNvSpPr/>
          <p:nvPr/>
        </p:nvSpPr>
        <p:spPr bwMode="auto">
          <a:xfrm>
            <a:off x="5951989" y="2834977"/>
            <a:ext cx="2088000" cy="1512000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90000">
                <a:srgbClr val="DE0000"/>
              </a:gs>
            </a:gsLst>
            <a:lin ang="2700000" scaled="1"/>
            <a:tileRect/>
          </a:gradFill>
          <a:ln>
            <a:solidFill>
              <a:schemeClr val="bg1"/>
            </a:solidFill>
          </a:ln>
          <a:effectLst>
            <a:outerShdw blurRad="127000" dist="762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17699985" lon="0" rev="0"/>
            </a:camera>
            <a:lightRig rig="threePt" dir="t">
              <a:rot lat="0" lon="0" rev="0"/>
            </a:lightRig>
          </a:scene3d>
          <a:sp3d extrusionH="279400" prstMaterial="plastic">
            <a:bevelT w="139700" h="1524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ea typeface="微软雅黑" panose="020B0503020204020204" pitchFamily="34" charset="-122"/>
            </a:endParaRPr>
          </a:p>
        </p:txBody>
      </p:sp>
      <p:sp>
        <p:nvSpPr>
          <p:cNvPr id="28" name="TextBox 20"/>
          <p:cNvSpPr txBox="1">
            <a:spLocks noChangeArrowheads="1"/>
          </p:cNvSpPr>
          <p:nvPr/>
        </p:nvSpPr>
        <p:spPr bwMode="auto">
          <a:xfrm>
            <a:off x="6218477" y="3421700"/>
            <a:ext cx="1555025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分标题一</a:t>
            </a:r>
            <a:endParaRPr lang="zh-CN" altLang="en-US" sz="1600" dirty="0">
              <a:solidFill>
                <a:schemeClr val="bg1"/>
              </a:solidFill>
              <a:effectLst>
                <a:reflection blurRad="6350" stA="50000" endA="300" endPos="50000" dist="60007" dir="5400000" sy="-100000" algn="bl" rotWithShape="0"/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500"/>
                            </p:stCondLst>
                            <p:childTnLst>
                              <p:par>
                                <p:cTn id="4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000"/>
                            </p:stCondLst>
                            <p:childTnLst>
                              <p:par>
                                <p:cTn id="4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 animBg="1"/>
      <p:bldP spid="18" grpId="0"/>
      <p:bldP spid="19" grpId="0" animBg="1"/>
      <p:bldP spid="20" grpId="0"/>
      <p:bldP spid="26" grpId="0"/>
      <p:bldP spid="27" grpId="0" animBg="1"/>
      <p:bldP spid="2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ChangeArrowheads="1"/>
          </p:cNvSpPr>
          <p:nvPr/>
        </p:nvSpPr>
        <p:spPr bwMode="auto">
          <a:xfrm>
            <a:off x="2658094" y="940178"/>
            <a:ext cx="3465468" cy="3492637"/>
          </a:xfrm>
          <a:prstGeom prst="ellipse">
            <a:avLst/>
          </a:prstGeom>
          <a:noFill/>
          <a:ln w="12700" cap="flat" cmpd="sng">
            <a:solidFill>
              <a:schemeClr val="tx1">
                <a:lumMod val="65000"/>
              </a:schemeClr>
            </a:solidFill>
            <a:prstDash val="sysDot"/>
            <a:round/>
          </a:ln>
          <a:effectLst/>
        </p:spPr>
        <p:txBody>
          <a:bodyPr wrap="none" anchor="ctr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2859278" y="1157243"/>
            <a:ext cx="3019813" cy="3102135"/>
          </a:xfrm>
          <a:prstGeom prst="ellipse">
            <a:avLst/>
          </a:prstGeom>
          <a:noFill/>
          <a:ln w="12700" cap="flat" cmpd="sng">
            <a:solidFill>
              <a:schemeClr val="tx1">
                <a:lumMod val="65000"/>
              </a:schemeClr>
            </a:solidFill>
            <a:prstDash val="sysDot"/>
            <a:round/>
          </a:ln>
          <a:effectLst/>
        </p:spPr>
        <p:txBody>
          <a:bodyPr wrap="none" anchor="ctr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3083120" y="1387083"/>
            <a:ext cx="2572128" cy="2642455"/>
          </a:xfrm>
          <a:prstGeom prst="ellipse">
            <a:avLst/>
          </a:prstGeom>
          <a:noFill/>
          <a:ln w="12700" cap="flat" cmpd="sng">
            <a:solidFill>
              <a:schemeClr val="tx1">
                <a:lumMod val="65000"/>
              </a:schemeClr>
            </a:solidFill>
            <a:prstDash val="sysDot"/>
            <a:round/>
          </a:ln>
          <a:effectLst/>
        </p:spPr>
        <p:txBody>
          <a:bodyPr wrap="none" anchor="ctr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2322835" y="627534"/>
            <a:ext cx="4045471" cy="3730031"/>
            <a:chOff x="2427287" y="1527769"/>
            <a:chExt cx="4418013" cy="4073525"/>
          </a:xfrm>
        </p:grpSpPr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 rot="9044364">
              <a:off x="2427287" y="3731219"/>
              <a:ext cx="1871663" cy="1857375"/>
            </a:xfrm>
            <a:prstGeom prst="chevron">
              <a:avLst>
                <a:gd name="adj" fmla="val 28631"/>
              </a:avLst>
            </a:prstGeom>
            <a:solidFill>
              <a:srgbClr val="FF6600"/>
            </a:solidFill>
            <a:ln w="9525">
              <a:noFill/>
              <a:miter lim="800000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b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>
              <a:flatTx/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auto">
            <a:xfrm rot="16200000">
              <a:off x="3704431" y="1536500"/>
              <a:ext cx="1873250" cy="1855788"/>
            </a:xfrm>
            <a:prstGeom prst="chevron">
              <a:avLst>
                <a:gd name="adj" fmla="val 28679"/>
              </a:avLst>
            </a:prstGeom>
            <a:solidFill>
              <a:srgbClr val="DE0000"/>
            </a:solidFill>
            <a:ln w="9525">
              <a:noFill/>
              <a:miter lim="800000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b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>
              <a:flatTx/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AutoShape 7"/>
            <p:cNvSpPr>
              <a:spLocks noChangeArrowheads="1"/>
            </p:cNvSpPr>
            <p:nvPr/>
          </p:nvSpPr>
          <p:spPr bwMode="auto">
            <a:xfrm rot="1788254">
              <a:off x="4973637" y="3743919"/>
              <a:ext cx="1871663" cy="1857375"/>
            </a:xfrm>
            <a:prstGeom prst="chevron">
              <a:avLst>
                <a:gd name="adj" fmla="val 28631"/>
              </a:avLst>
            </a:prstGeom>
            <a:solidFill>
              <a:schemeClr val="bg1">
                <a:lumMod val="50000"/>
              </a:schemeClr>
            </a:solidFill>
            <a:ln w="9525">
              <a:noFill/>
              <a:miter lim="800000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b">
                <a:rot lat="0" lon="0" rev="8700000"/>
              </a:lightRig>
            </a:scene3d>
            <a:sp3d>
              <a:bevelT w="190500" h="38100"/>
            </a:sp3d>
          </p:spPr>
          <p:txBody>
            <a:bodyPr wrap="none" anchor="ctr">
              <a:flatTx/>
            </a:bodyPr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3680197" y="1176809"/>
            <a:ext cx="1504950" cy="3365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eaLnBrk="0" hangingPunct="0"/>
            <a:r>
              <a:rPr lang="zh-CN" altLang="en-US" sz="1600" dirty="0">
                <a:solidFill>
                  <a:srgbClr val="FFFBF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600" dirty="0">
              <a:solidFill>
                <a:srgbClr val="FFFBF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2551882" y="3642570"/>
            <a:ext cx="1504950" cy="3365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eaLnBrk="0" hangingPunct="0"/>
            <a:r>
              <a:rPr lang="zh-CN" altLang="en-US" sz="1600" dirty="0">
                <a:solidFill>
                  <a:srgbClr val="FFFBF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4829402" y="3640840"/>
            <a:ext cx="1504950" cy="3365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eaLnBrk="0" hangingPunct="0"/>
            <a:r>
              <a:rPr lang="zh-CN" altLang="en-US" sz="1600" dirty="0">
                <a:solidFill>
                  <a:srgbClr val="FFFBF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6677631" y="3037505"/>
            <a:ext cx="1804987" cy="122187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L="120650" indent="-120650" algn="l" eaLnBrk="0" hangingPunct="0">
              <a:buFont typeface="Wingdings" panose="05000000000000000000" pitchFamily="2" charset="2"/>
              <a:buNone/>
            </a:pPr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文本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 eaLnBrk="0" hangingPunct="0">
              <a:buFont typeface="Wingdings" panose="05000000000000000000" pitchFamily="2" charset="2"/>
              <a:buNone/>
            </a:pPr>
            <a:endParaRPr lang="zh-CN" altLang="en-US" sz="14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lnSpc>
                <a:spcPct val="60000"/>
              </a:lnSpc>
              <a:spcBef>
                <a:spcPct val="50000"/>
              </a:spcBef>
              <a:buClr>
                <a:srgbClr val="1F3F5F"/>
              </a:buClr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611560" y="2681165"/>
            <a:ext cx="1804987" cy="116031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L="120650" indent="-120650" algn="l" eaLnBrk="0" hangingPunct="0">
              <a:buFont typeface="Wingdings" panose="05000000000000000000" pitchFamily="2" charset="2"/>
              <a:buNone/>
            </a:pPr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文本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 eaLnBrk="0" hangingPunct="0">
              <a:buFont typeface="Wingdings" panose="05000000000000000000" pitchFamily="2" charset="2"/>
              <a:buNone/>
            </a:pPr>
            <a:endParaRPr lang="zh-CN" altLang="en-US" sz="10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lnSpc>
                <a:spcPct val="60000"/>
              </a:lnSpc>
              <a:spcBef>
                <a:spcPct val="50000"/>
              </a:spcBef>
              <a:buClr>
                <a:srgbClr val="1F3F5F"/>
              </a:buClr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/>
        </p:nvSpPr>
        <p:spPr bwMode="auto">
          <a:xfrm>
            <a:off x="3704010" y="2639989"/>
            <a:ext cx="1224136" cy="40011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marL="120650" indent="-120650" eaLnBrk="0" hangingPunct="0">
              <a:buFont typeface="Wingdings" panose="05000000000000000000" pitchFamily="2" charset="2"/>
              <a:buNone/>
            </a:pPr>
            <a:r>
              <a:rPr lang="zh-CN" altLang="en-US" sz="20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加标题</a:t>
            </a:r>
            <a:endParaRPr lang="zh-CN" altLang="en-US" sz="3600" dirty="0">
              <a:solidFill>
                <a:schemeClr val="tx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6123562" y="776146"/>
            <a:ext cx="1804987" cy="122187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L="120650" indent="-120650" algn="l" eaLnBrk="0" hangingPunct="0">
              <a:buFont typeface="Wingdings" panose="05000000000000000000" pitchFamily="2" charset="2"/>
              <a:buNone/>
            </a:pPr>
            <a:r>
              <a:rPr lang="zh-CN" altLang="en-US" sz="16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输入文本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 eaLnBrk="0" hangingPunct="0">
              <a:buFont typeface="Wingdings" panose="05000000000000000000" pitchFamily="2" charset="2"/>
              <a:buNone/>
            </a:pPr>
            <a:endParaRPr lang="zh-CN" altLang="en-US" sz="14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lnSpc>
                <a:spcPct val="60000"/>
              </a:lnSpc>
              <a:spcBef>
                <a:spcPct val="50000"/>
              </a:spcBef>
              <a:buClr>
                <a:srgbClr val="1F3F5F"/>
              </a:buClr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0650" indent="-120650" algn="l">
              <a:buFontTx/>
              <a:buChar char="•"/>
            </a:pPr>
            <a:r>
              <a:rPr lang="zh-CN" altLang="en-US" sz="1400" dirty="0">
                <a:solidFill>
                  <a:srgbClr val="1C1C1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字</a:t>
            </a:r>
            <a:endParaRPr lang="zh-CN" altLang="en-US" sz="1400" dirty="0">
              <a:solidFill>
                <a:srgbClr val="1C1C1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500"/>
                            </p:stCondLst>
                            <p:childTnLst>
                              <p:par>
                                <p:cTn id="5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90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10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 rot="20640000">
            <a:off x="3094536" y="2308855"/>
            <a:ext cx="1537327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 rot="900000">
            <a:off x="3088287" y="2838126"/>
            <a:ext cx="1517846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>
          <a:xfrm rot="19320000">
            <a:off x="2963769" y="1722564"/>
            <a:ext cx="1764000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 rot="2400000">
            <a:off x="2945371" y="3359589"/>
            <a:ext cx="1764000" cy="720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56"/>
          <p:cNvGrpSpPr/>
          <p:nvPr/>
        </p:nvGrpSpPr>
        <p:grpSpPr bwMode="auto">
          <a:xfrm>
            <a:off x="2574468" y="1885961"/>
            <a:ext cx="1450975" cy="1398588"/>
            <a:chOff x="3440653" y="2680764"/>
            <a:chExt cx="2329340" cy="2245772"/>
          </a:xfrm>
        </p:grpSpPr>
        <p:grpSp>
          <p:nvGrpSpPr>
            <p:cNvPr id="8" name="组合 43"/>
            <p:cNvGrpSpPr>
              <a:grpSpLocks noChangeAspect="1"/>
            </p:cNvGrpSpPr>
            <p:nvPr/>
          </p:nvGrpSpPr>
          <p:grpSpPr bwMode="auto">
            <a:xfrm>
              <a:off x="3440653" y="2680764"/>
              <a:ext cx="2245772" cy="2245772"/>
              <a:chOff x="5217600" y="3058600"/>
              <a:chExt cx="1116000" cy="1116000"/>
            </a:xfrm>
          </p:grpSpPr>
          <p:sp>
            <p:nvSpPr>
              <p:cNvPr id="10" name="Oval 2"/>
              <p:cNvSpPr>
                <a:spLocks noChangeAspect="1" noChangeArrowheads="1"/>
              </p:cNvSpPr>
              <p:nvPr/>
            </p:nvSpPr>
            <p:spPr bwMode="auto">
              <a:xfrm>
                <a:off x="5217600" y="3058600"/>
                <a:ext cx="1116000" cy="1116000"/>
              </a:xfrm>
              <a:prstGeom prst="ellipse">
                <a:avLst/>
              </a:prstGeom>
              <a:gradFill flip="none" rotWithShape="1">
                <a:gsLst>
                  <a:gs pos="0">
                    <a:srgbClr val="FFCF01"/>
                  </a:gs>
                  <a:gs pos="90000">
                    <a:srgbClr val="E22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extrusionH="304800" contourW="19050">
                <a:bevelT prst="convex"/>
                <a:bevelB w="0" h="0"/>
                <a:contourClr>
                  <a:srgbClr val="FFE593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fr-FR" altLang="zh-CN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" name="椭圆 10"/>
              <p:cNvSpPr/>
              <p:nvPr/>
            </p:nvSpPr>
            <p:spPr>
              <a:xfrm rot="19388639">
                <a:off x="5221400" y="3127004"/>
                <a:ext cx="757332" cy="53963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45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5327131" y="3179241"/>
                <a:ext cx="846138" cy="849318"/>
              </a:xfrm>
              <a:prstGeom prst="ellipse">
                <a:avLst/>
              </a:prstGeom>
              <a:gradFill flip="none" rotWithShape="1">
                <a:gsLst>
                  <a:gs pos="10000">
                    <a:srgbClr val="FFC000">
                      <a:alpha val="60000"/>
                    </a:srgbClr>
                  </a:gs>
                  <a:gs pos="7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400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" name="Text Box 29"/>
            <p:cNvSpPr txBox="1">
              <a:spLocks noChangeArrowheads="1"/>
            </p:cNvSpPr>
            <p:nvPr/>
          </p:nvSpPr>
          <p:spPr bwMode="gray">
            <a:xfrm>
              <a:off x="3464942" y="3492525"/>
              <a:ext cx="2305051" cy="543807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1"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" name="圆角矩形 12"/>
          <p:cNvSpPr/>
          <p:nvPr/>
        </p:nvSpPr>
        <p:spPr bwMode="auto">
          <a:xfrm>
            <a:off x="4587799" y="2723350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rgbClr val="FF66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矩形 87"/>
          <p:cNvSpPr>
            <a:spLocks noChangeArrowheads="1"/>
          </p:cNvSpPr>
          <p:nvPr/>
        </p:nvSpPr>
        <p:spPr bwMode="auto">
          <a:xfrm>
            <a:off x="4724400" y="2882911"/>
            <a:ext cx="3208337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 点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圆角矩形 14"/>
          <p:cNvSpPr/>
          <p:nvPr/>
        </p:nvSpPr>
        <p:spPr bwMode="auto">
          <a:xfrm>
            <a:off x="4587799" y="3627243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rgbClr val="FF66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87"/>
          <p:cNvSpPr>
            <a:spLocks noChangeArrowheads="1"/>
          </p:cNvSpPr>
          <p:nvPr/>
        </p:nvSpPr>
        <p:spPr bwMode="auto">
          <a:xfrm>
            <a:off x="4648200" y="3798899"/>
            <a:ext cx="336232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</a:t>
            </a:r>
            <a:r>
              <a:rPr lang="zh-CN" altLang="en-US" sz="1400" dirty="0" smtClean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 点</a:t>
            </a: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 bwMode="auto">
          <a:xfrm>
            <a:off x="4587798" y="1819458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rgbClr val="FF66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87"/>
          <p:cNvSpPr>
            <a:spLocks noChangeArrowheads="1"/>
          </p:cNvSpPr>
          <p:nvPr/>
        </p:nvSpPr>
        <p:spPr bwMode="auto">
          <a:xfrm>
            <a:off x="4776788" y="1966924"/>
            <a:ext cx="3148012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 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AutoShape 3"/>
          <p:cNvSpPr>
            <a:spLocks noChangeAspect="1" noChangeArrowheads="1"/>
          </p:cNvSpPr>
          <p:nvPr/>
        </p:nvSpPr>
        <p:spPr bwMode="auto">
          <a:xfrm>
            <a:off x="4417556" y="1971783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AutoShape 3"/>
          <p:cNvSpPr>
            <a:spLocks noChangeAspect="1" noChangeArrowheads="1"/>
          </p:cNvSpPr>
          <p:nvPr/>
        </p:nvSpPr>
        <p:spPr bwMode="auto">
          <a:xfrm>
            <a:off x="4417556" y="2875675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 bwMode="auto">
          <a:xfrm>
            <a:off x="4587799" y="915566"/>
            <a:ext cx="3686405" cy="628650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rgbClr val="FF66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87"/>
          <p:cNvSpPr>
            <a:spLocks noChangeArrowheads="1"/>
          </p:cNvSpPr>
          <p:nvPr/>
        </p:nvSpPr>
        <p:spPr bwMode="auto">
          <a:xfrm>
            <a:off x="4648200" y="1063636"/>
            <a:ext cx="3421062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 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AutoShape 3"/>
          <p:cNvSpPr>
            <a:spLocks noChangeAspect="1" noChangeArrowheads="1"/>
          </p:cNvSpPr>
          <p:nvPr/>
        </p:nvSpPr>
        <p:spPr bwMode="auto">
          <a:xfrm>
            <a:off x="4417556" y="1067891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AutoShape 3"/>
          <p:cNvSpPr>
            <a:spLocks noChangeAspect="1" noChangeArrowheads="1"/>
          </p:cNvSpPr>
          <p:nvPr/>
        </p:nvSpPr>
        <p:spPr bwMode="auto">
          <a:xfrm>
            <a:off x="4417556" y="3779568"/>
            <a:ext cx="324000" cy="324000"/>
          </a:xfrm>
          <a:prstGeom prst="ellipse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508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AutoShape 593"/>
          <p:cNvSpPr>
            <a:spLocks noChangeArrowheads="1"/>
          </p:cNvSpPr>
          <p:nvPr/>
        </p:nvSpPr>
        <p:spPr bwMode="auto">
          <a:xfrm rot="10800000" flipH="1" flipV="1">
            <a:off x="1966206" y="2369729"/>
            <a:ext cx="540000" cy="432000"/>
          </a:xfrm>
          <a:prstGeom prst="rightArrow">
            <a:avLst>
              <a:gd name="adj1" fmla="val 60857"/>
              <a:gd name="adj2" fmla="val 56907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"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57"/>
          <p:cNvGrpSpPr/>
          <p:nvPr/>
        </p:nvGrpSpPr>
        <p:grpSpPr bwMode="auto">
          <a:xfrm>
            <a:off x="609600" y="2016136"/>
            <a:ext cx="1417637" cy="1138238"/>
            <a:chOff x="995344" y="2329499"/>
            <a:chExt cx="1904726" cy="1529714"/>
          </a:xfrm>
        </p:grpSpPr>
        <p:grpSp>
          <p:nvGrpSpPr>
            <p:cNvPr id="27" name="组合 34"/>
            <p:cNvGrpSpPr>
              <a:grpSpLocks noChangeAspect="1"/>
            </p:cNvGrpSpPr>
            <p:nvPr/>
          </p:nvGrpSpPr>
          <p:grpSpPr bwMode="auto">
            <a:xfrm>
              <a:off x="1208638" y="2329499"/>
              <a:ext cx="1534568" cy="1529714"/>
              <a:chOff x="4776693" y="4404800"/>
              <a:chExt cx="1011807" cy="1008000"/>
            </a:xfrm>
          </p:grpSpPr>
          <p:sp>
            <p:nvSpPr>
              <p:cNvPr id="29" name="Oval 2"/>
              <p:cNvSpPr>
                <a:spLocks noChangeAspect="1" noChangeArrowheads="1"/>
              </p:cNvSpPr>
              <p:nvPr/>
            </p:nvSpPr>
            <p:spPr bwMode="auto">
              <a:xfrm>
                <a:off x="4780500" y="4404800"/>
                <a:ext cx="1008000" cy="1008000"/>
              </a:xfrm>
              <a:prstGeom prst="ellipse">
                <a:avLst/>
              </a:prstGeom>
              <a:gradFill flip="none" rotWithShape="1">
                <a:gsLst>
                  <a:gs pos="0">
                    <a:srgbClr val="FF0000"/>
                  </a:gs>
                  <a:gs pos="90000">
                    <a:srgbClr val="C00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rgbClr val="FF0000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fontAlgn="ctr" hangingPunct="0">
                  <a:spcBef>
                    <a:spcPts val="0"/>
                  </a:spcBef>
                  <a:spcAft>
                    <a:spcPts val="0"/>
                  </a:spcAft>
                  <a:buClr>
                    <a:srgbClr val="FF0000"/>
                  </a:buClr>
                  <a:buSzPct val="70000"/>
                  <a:defRPr/>
                </a:pPr>
                <a:endParaRPr lang="fr-FR" altLang="zh-CN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" name="椭圆 29"/>
              <p:cNvSpPr/>
              <p:nvPr/>
            </p:nvSpPr>
            <p:spPr>
              <a:xfrm rot="19388639">
                <a:off x="4776693" y="4463846"/>
                <a:ext cx="683485" cy="466745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45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椭圆 30"/>
              <p:cNvSpPr>
                <a:spLocks noChangeAspect="1"/>
              </p:cNvSpPr>
              <p:nvPr/>
            </p:nvSpPr>
            <p:spPr>
              <a:xfrm>
                <a:off x="4888500" y="4512800"/>
                <a:ext cx="792000" cy="792000"/>
              </a:xfrm>
              <a:prstGeom prst="ellipse">
                <a:avLst/>
              </a:prstGeom>
              <a:gradFill flip="none" rotWithShape="1">
                <a:gsLst>
                  <a:gs pos="10000">
                    <a:srgbClr val="FF0000"/>
                  </a:gs>
                  <a:gs pos="7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8" name="TextBox 147"/>
            <p:cNvSpPr txBox="1">
              <a:spLocks noChangeArrowheads="1"/>
            </p:cNvSpPr>
            <p:nvPr/>
          </p:nvSpPr>
          <p:spPr bwMode="auto">
            <a:xfrm>
              <a:off x="995344" y="2834940"/>
              <a:ext cx="1904726" cy="454994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anchor="ctr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>
                    <a:reflection blurRad="6350" stA="50000" endA="300" endPos="50000" dist="29997" dir="5400000" sy="-100000" algn="bl" rotWithShape="0"/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1"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6500"/>
                            </p:stCondLst>
                            <p:childTnLst>
                              <p:par>
                                <p:cTn id="6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0"/>
                            </p:stCondLst>
                            <p:childTnLst>
                              <p:par>
                                <p:cTn id="7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8000"/>
                            </p:stCondLst>
                            <p:childTnLst>
                              <p:par>
                                <p:cTn id="7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000"/>
                            </p:stCondLst>
                            <p:childTnLst>
                              <p:par>
                                <p:cTn id="8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13" grpId="0" animBg="1"/>
      <p:bldP spid="14" grpId="0"/>
      <p:bldP spid="15" grpId="0" animBg="1"/>
      <p:bldP spid="16" grpId="0"/>
      <p:bldP spid="17" grpId="0" animBg="1"/>
      <p:bldP spid="18" grpId="0"/>
      <p:bldP spid="19" grpId="0" animBg="1"/>
      <p:bldP spid="20" grpId="0" animBg="1"/>
      <p:bldP spid="21" grpId="0" animBg="1"/>
      <p:bldP spid="22" grpId="0"/>
      <p:bldP spid="23" grpId="0" animBg="1"/>
      <p:bldP spid="24" grpId="0" animBg="1"/>
      <p:bldP spid="2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5724525" y="1916182"/>
            <a:ext cx="895350" cy="2214563"/>
            <a:chOff x="5724525" y="2978150"/>
            <a:chExt cx="895350" cy="2214563"/>
          </a:xfrm>
        </p:grpSpPr>
        <p:sp>
          <p:nvSpPr>
            <p:cNvPr id="4" name="AutoShape 3"/>
            <p:cNvSpPr>
              <a:spLocks noChangeArrowheads="1"/>
            </p:cNvSpPr>
            <p:nvPr/>
          </p:nvSpPr>
          <p:spPr bwMode="auto">
            <a:xfrm>
              <a:off x="5724525" y="4632325"/>
              <a:ext cx="895350" cy="560388"/>
            </a:xfrm>
            <a:prstGeom prst="can">
              <a:avLst>
                <a:gd name="adj" fmla="val 44917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AutoShape 4"/>
            <p:cNvSpPr>
              <a:spLocks noChangeArrowheads="1"/>
            </p:cNvSpPr>
            <p:nvPr/>
          </p:nvSpPr>
          <p:spPr bwMode="auto">
            <a:xfrm>
              <a:off x="5724525" y="2978150"/>
              <a:ext cx="895350" cy="1876425"/>
            </a:xfrm>
            <a:prstGeom prst="can">
              <a:avLst>
                <a:gd name="adj" fmla="val 24285"/>
              </a:avLst>
            </a:prstGeom>
            <a:gradFill>
              <a:gsLst>
                <a:gs pos="0">
                  <a:srgbClr val="FF0000"/>
                </a:gs>
                <a:gs pos="50800">
                  <a:srgbClr val="FFC1C1"/>
                </a:gs>
                <a:gs pos="100000">
                  <a:srgbClr val="FF0000"/>
                </a:gs>
              </a:gsLst>
              <a:lin ang="10800000" scaled="0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6654800" y="1562170"/>
            <a:ext cx="893763" cy="2568575"/>
            <a:chOff x="6654800" y="2624138"/>
            <a:chExt cx="893763" cy="2568575"/>
          </a:xfrm>
        </p:grpSpPr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6654800" y="4632325"/>
              <a:ext cx="893763" cy="560388"/>
            </a:xfrm>
            <a:prstGeom prst="can">
              <a:avLst>
                <a:gd name="adj" fmla="val 45245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auto">
            <a:xfrm>
              <a:off x="6654800" y="2624138"/>
              <a:ext cx="893763" cy="2230437"/>
            </a:xfrm>
            <a:prstGeom prst="can">
              <a:avLst>
                <a:gd name="adj" fmla="val 22795"/>
              </a:avLst>
            </a:prstGeom>
            <a:gradFill rotWithShape="1">
              <a:gsLst>
                <a:gs pos="0">
                  <a:srgbClr val="FF0000"/>
                </a:gs>
                <a:gs pos="50000">
                  <a:srgbClr val="FFC1C1"/>
                </a:gs>
                <a:gs pos="100000">
                  <a:srgbClr val="FF0000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3486150" y="2678182"/>
            <a:ext cx="895350" cy="1450975"/>
            <a:chOff x="3486150" y="3740150"/>
            <a:chExt cx="895350" cy="1450975"/>
          </a:xfrm>
        </p:grpSpPr>
        <p:sp>
          <p:nvSpPr>
            <p:cNvPr id="10" name="AutoShape 7"/>
            <p:cNvSpPr>
              <a:spLocks noChangeArrowheads="1"/>
            </p:cNvSpPr>
            <p:nvPr/>
          </p:nvSpPr>
          <p:spPr bwMode="auto">
            <a:xfrm>
              <a:off x="3486150" y="4643438"/>
              <a:ext cx="895350" cy="547687"/>
            </a:xfrm>
            <a:prstGeom prst="can">
              <a:avLst>
                <a:gd name="adj" fmla="val 45796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AutoShape 8"/>
            <p:cNvSpPr>
              <a:spLocks noChangeArrowheads="1"/>
            </p:cNvSpPr>
            <p:nvPr/>
          </p:nvSpPr>
          <p:spPr bwMode="auto">
            <a:xfrm>
              <a:off x="3486150" y="3740150"/>
              <a:ext cx="895350" cy="1125538"/>
            </a:xfrm>
            <a:prstGeom prst="can">
              <a:avLst>
                <a:gd name="adj" fmla="val 24822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C99"/>
                </a:gs>
                <a:gs pos="100000">
                  <a:srgbClr val="FF6600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4416425" y="2316232"/>
            <a:ext cx="904875" cy="1814513"/>
            <a:chOff x="4416425" y="3378200"/>
            <a:chExt cx="904875" cy="1814513"/>
          </a:xfrm>
        </p:grpSpPr>
        <p:sp>
          <p:nvSpPr>
            <p:cNvPr id="13" name="AutoShape 9"/>
            <p:cNvSpPr>
              <a:spLocks noChangeArrowheads="1"/>
            </p:cNvSpPr>
            <p:nvPr/>
          </p:nvSpPr>
          <p:spPr bwMode="auto">
            <a:xfrm>
              <a:off x="4416425" y="4632325"/>
              <a:ext cx="904875" cy="560388"/>
            </a:xfrm>
            <a:prstGeom prst="can">
              <a:avLst>
                <a:gd name="adj" fmla="val 49292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AutoShape 10"/>
            <p:cNvSpPr>
              <a:spLocks noChangeArrowheads="1"/>
            </p:cNvSpPr>
            <p:nvPr/>
          </p:nvSpPr>
          <p:spPr bwMode="auto">
            <a:xfrm>
              <a:off x="4416425" y="3378200"/>
              <a:ext cx="904875" cy="1487488"/>
            </a:xfrm>
            <a:prstGeom prst="can">
              <a:avLst>
                <a:gd name="adj" fmla="val 25267"/>
              </a:avLst>
            </a:prstGeom>
            <a:gradFill rotWithShape="1">
              <a:gsLst>
                <a:gs pos="0">
                  <a:srgbClr val="FF6600"/>
                </a:gs>
                <a:gs pos="50000">
                  <a:srgbClr val="FFCC99"/>
                </a:gs>
                <a:gs pos="100000">
                  <a:srgbClr val="FF6600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304925" y="3317945"/>
            <a:ext cx="893763" cy="800100"/>
            <a:chOff x="1304925" y="4379913"/>
            <a:chExt cx="893763" cy="800100"/>
          </a:xfrm>
        </p:grpSpPr>
        <p:sp>
          <p:nvSpPr>
            <p:cNvPr id="16" name="AutoShape 11"/>
            <p:cNvSpPr>
              <a:spLocks noChangeArrowheads="1"/>
            </p:cNvSpPr>
            <p:nvPr/>
          </p:nvSpPr>
          <p:spPr bwMode="auto">
            <a:xfrm>
              <a:off x="1304925" y="4708525"/>
              <a:ext cx="893763" cy="471488"/>
            </a:xfrm>
            <a:prstGeom prst="can">
              <a:avLst>
                <a:gd name="adj" fmla="val 40403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AutoShape 12"/>
            <p:cNvSpPr>
              <a:spLocks noChangeArrowheads="1"/>
            </p:cNvSpPr>
            <p:nvPr/>
          </p:nvSpPr>
          <p:spPr bwMode="auto">
            <a:xfrm>
              <a:off x="1304925" y="4379913"/>
              <a:ext cx="893763" cy="485775"/>
            </a:xfrm>
            <a:prstGeom prst="can">
              <a:avLst>
                <a:gd name="adj" fmla="val 36273"/>
              </a:avLst>
            </a:prstGeom>
            <a:gradFill rotWithShape="1">
              <a:gsLst>
                <a:gs pos="0">
                  <a:schemeClr val="tx1">
                    <a:lumMod val="50000"/>
                  </a:schemeClr>
                </a:gs>
                <a:gs pos="50000">
                  <a:schemeClr val="tx1">
                    <a:lumMod val="95000"/>
                  </a:schemeClr>
                </a:gs>
                <a:gs pos="100000">
                  <a:schemeClr val="tx1">
                    <a:lumMod val="65000"/>
                  </a:schemeClr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2235200" y="2962345"/>
            <a:ext cx="893763" cy="1163637"/>
            <a:chOff x="2235200" y="4024313"/>
            <a:chExt cx="893763" cy="1163637"/>
          </a:xfrm>
        </p:grpSpPr>
        <p:sp>
          <p:nvSpPr>
            <p:cNvPr id="19" name="AutoShape 13"/>
            <p:cNvSpPr>
              <a:spLocks noChangeArrowheads="1"/>
            </p:cNvSpPr>
            <p:nvPr/>
          </p:nvSpPr>
          <p:spPr bwMode="auto">
            <a:xfrm>
              <a:off x="2235200" y="4664075"/>
              <a:ext cx="893763" cy="523875"/>
            </a:xfrm>
            <a:prstGeom prst="can">
              <a:avLst>
                <a:gd name="adj" fmla="val 45153"/>
              </a:avLst>
            </a:prstGeom>
            <a:gradFill rotWithShape="1">
              <a:gsLst>
                <a:gs pos="0">
                  <a:srgbClr val="182326"/>
                </a:gs>
                <a:gs pos="50000">
                  <a:srgbClr val="182326">
                    <a:gamma/>
                    <a:tint val="58824"/>
                    <a:invGamma/>
                  </a:srgbClr>
                </a:gs>
                <a:gs pos="100000">
                  <a:srgbClr val="182326"/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AutoShape 14"/>
            <p:cNvSpPr>
              <a:spLocks noChangeArrowheads="1"/>
            </p:cNvSpPr>
            <p:nvPr/>
          </p:nvSpPr>
          <p:spPr bwMode="auto">
            <a:xfrm>
              <a:off x="2235200" y="4024313"/>
              <a:ext cx="893763" cy="841375"/>
            </a:xfrm>
            <a:prstGeom prst="can">
              <a:avLst>
                <a:gd name="adj" fmla="val 25093"/>
              </a:avLst>
            </a:prstGeom>
            <a:gradFill rotWithShape="1">
              <a:gsLst>
                <a:gs pos="0">
                  <a:schemeClr val="tx1">
                    <a:lumMod val="50000"/>
                  </a:schemeClr>
                </a:gs>
                <a:gs pos="50000">
                  <a:schemeClr val="tx1">
                    <a:lumMod val="95000"/>
                  </a:schemeClr>
                </a:gs>
                <a:gs pos="100000">
                  <a:schemeClr val="tx1">
                    <a:lumMod val="50000"/>
                  </a:schemeClr>
                </a:gs>
              </a:gsLst>
              <a:lin ang="0" scaled="1"/>
            </a:gradFill>
            <a:ln w="9525" cap="flat" cmpd="sng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1" name="Rectangle 15"/>
          <p:cNvSpPr>
            <a:spLocks noChangeArrowheads="1"/>
          </p:cNvSpPr>
          <p:nvPr/>
        </p:nvSpPr>
        <p:spPr bwMode="auto">
          <a:xfrm>
            <a:off x="1597115" y="4195832"/>
            <a:ext cx="1261884" cy="307777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</a:t>
            </a:r>
            <a:endParaRPr lang="zh-CN" altLang="en-US" sz="1400" b="1" dirty="0">
              <a:solidFill>
                <a:schemeClr val="accent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Rectangle 16"/>
          <p:cNvSpPr>
            <a:spLocks noChangeArrowheads="1"/>
          </p:cNvSpPr>
          <p:nvPr/>
        </p:nvSpPr>
        <p:spPr bwMode="auto">
          <a:xfrm>
            <a:off x="3768815" y="4195832"/>
            <a:ext cx="1261884" cy="307777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</a:t>
            </a:r>
            <a:endParaRPr lang="zh-CN" altLang="en-US" sz="1400" b="1" dirty="0">
              <a:solidFill>
                <a:schemeClr val="accent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Rectangle 17"/>
          <p:cNvSpPr>
            <a:spLocks noChangeArrowheads="1"/>
          </p:cNvSpPr>
          <p:nvPr/>
        </p:nvSpPr>
        <p:spPr bwMode="auto">
          <a:xfrm>
            <a:off x="5997665" y="4195832"/>
            <a:ext cx="1261884" cy="307777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</a:t>
            </a:r>
            <a:endParaRPr lang="zh-CN" altLang="en-US" sz="1400" b="1" dirty="0">
              <a:solidFill>
                <a:schemeClr val="accent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Rectangle 18"/>
          <p:cNvSpPr>
            <a:spLocks noChangeArrowheads="1"/>
          </p:cNvSpPr>
          <p:nvPr/>
        </p:nvSpPr>
        <p:spPr bwMode="auto">
          <a:xfrm>
            <a:off x="2841268" y="1050995"/>
            <a:ext cx="697627" cy="40011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20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2351088" y="2401957"/>
            <a:ext cx="660400" cy="657225"/>
            <a:chOff x="2351088" y="3463925"/>
            <a:chExt cx="660400" cy="657225"/>
          </a:xfrm>
        </p:grpSpPr>
        <p:grpSp>
          <p:nvGrpSpPr>
            <p:cNvPr id="26" name="Group 22"/>
            <p:cNvGrpSpPr/>
            <p:nvPr/>
          </p:nvGrpSpPr>
          <p:grpSpPr bwMode="auto">
            <a:xfrm>
              <a:off x="2351088" y="3463925"/>
              <a:ext cx="660400" cy="657225"/>
              <a:chOff x="0" y="0"/>
              <a:chExt cx="416" cy="414"/>
            </a:xfrm>
          </p:grpSpPr>
          <p:sp>
            <p:nvSpPr>
              <p:cNvPr id="28" name="Oval 23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tx1">
                  <a:lumMod val="65000"/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29" name="Picture 24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27" name="Text Box 25"/>
            <p:cNvSpPr txBox="1">
              <a:spLocks noChangeArrowheads="1"/>
            </p:cNvSpPr>
            <p:nvPr/>
          </p:nvSpPr>
          <p:spPr bwMode="auto">
            <a:xfrm>
              <a:off x="2384425" y="3635375"/>
              <a:ext cx="582613" cy="338554"/>
            </a:xfrm>
            <a:prstGeom prst="rect">
              <a:avLst/>
            </a:prstGeom>
            <a:noFill/>
            <a:ln w="9525" cap="flat" cmpd="sng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7</a:t>
              </a:r>
              <a:r>
                <a:rPr lang="en-US" altLang="zh-CN" sz="1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00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3487738" y="2152720"/>
            <a:ext cx="866775" cy="657225"/>
            <a:chOff x="3487738" y="3214688"/>
            <a:chExt cx="866775" cy="657225"/>
          </a:xfrm>
        </p:grpSpPr>
        <p:grpSp>
          <p:nvGrpSpPr>
            <p:cNvPr id="31" name="Group 26"/>
            <p:cNvGrpSpPr/>
            <p:nvPr/>
          </p:nvGrpSpPr>
          <p:grpSpPr bwMode="auto">
            <a:xfrm>
              <a:off x="3597275" y="3214688"/>
              <a:ext cx="660400" cy="657225"/>
              <a:chOff x="0" y="0"/>
              <a:chExt cx="416" cy="414"/>
            </a:xfrm>
          </p:grpSpPr>
          <p:sp>
            <p:nvSpPr>
              <p:cNvPr id="33" name="Oval 27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rgbClr val="FF6600">
                  <a:alpha val="70000"/>
                </a:srgb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34" name="Picture 28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32" name="Text Box 32"/>
            <p:cNvSpPr txBox="1">
              <a:spLocks noChangeArrowheads="1"/>
            </p:cNvSpPr>
            <p:nvPr/>
          </p:nvSpPr>
          <p:spPr bwMode="auto">
            <a:xfrm>
              <a:off x="3487738" y="3373438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600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,000</a:t>
              </a:r>
              <a:endPara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4445000" y="1770132"/>
            <a:ext cx="866775" cy="657225"/>
            <a:chOff x="4445000" y="2832100"/>
            <a:chExt cx="866775" cy="657225"/>
          </a:xfrm>
        </p:grpSpPr>
        <p:grpSp>
          <p:nvGrpSpPr>
            <p:cNvPr id="36" name="Group 33"/>
            <p:cNvGrpSpPr/>
            <p:nvPr/>
          </p:nvGrpSpPr>
          <p:grpSpPr bwMode="auto">
            <a:xfrm>
              <a:off x="4545013" y="2832100"/>
              <a:ext cx="660400" cy="657225"/>
              <a:chOff x="0" y="0"/>
              <a:chExt cx="416" cy="414"/>
            </a:xfrm>
          </p:grpSpPr>
          <p:sp>
            <p:nvSpPr>
              <p:cNvPr id="38" name="Oval 34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rgbClr val="FF6600">
                  <a:alpha val="70000"/>
                </a:srgb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39" name="Picture 35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37" name="Text Box 36"/>
            <p:cNvSpPr txBox="1">
              <a:spLocks noChangeArrowheads="1"/>
            </p:cNvSpPr>
            <p:nvPr/>
          </p:nvSpPr>
          <p:spPr bwMode="auto">
            <a:xfrm>
              <a:off x="4445000" y="2981325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600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,500</a:t>
              </a:r>
              <a:endParaRPr lang="en-US" altLang="zh-CN" sz="1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5745163" y="1385957"/>
            <a:ext cx="866775" cy="657225"/>
            <a:chOff x="5745163" y="2447925"/>
            <a:chExt cx="866775" cy="657225"/>
          </a:xfrm>
        </p:grpSpPr>
        <p:grpSp>
          <p:nvGrpSpPr>
            <p:cNvPr id="41" name="Group 29"/>
            <p:cNvGrpSpPr/>
            <p:nvPr/>
          </p:nvGrpSpPr>
          <p:grpSpPr bwMode="auto">
            <a:xfrm>
              <a:off x="5843588" y="2447925"/>
              <a:ext cx="660400" cy="657225"/>
              <a:chOff x="0" y="0"/>
              <a:chExt cx="416" cy="414"/>
            </a:xfrm>
          </p:grpSpPr>
          <p:sp>
            <p:nvSpPr>
              <p:cNvPr id="43" name="Oval 30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rgbClr val="FF0000">
                  <a:alpha val="70000"/>
                </a:srgb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44" name="Picture 31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42" name="Text Box 37"/>
            <p:cNvSpPr txBox="1">
              <a:spLocks noChangeArrowheads="1"/>
            </p:cNvSpPr>
            <p:nvPr/>
          </p:nvSpPr>
          <p:spPr bwMode="auto">
            <a:xfrm>
              <a:off x="5745163" y="2608263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,000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6650038" y="1016070"/>
            <a:ext cx="866775" cy="657225"/>
            <a:chOff x="6650038" y="2078038"/>
            <a:chExt cx="866775" cy="657225"/>
          </a:xfrm>
        </p:grpSpPr>
        <p:grpSp>
          <p:nvGrpSpPr>
            <p:cNvPr id="46" name="Group 38"/>
            <p:cNvGrpSpPr/>
            <p:nvPr/>
          </p:nvGrpSpPr>
          <p:grpSpPr bwMode="auto">
            <a:xfrm>
              <a:off x="6748463" y="2078038"/>
              <a:ext cx="660400" cy="657225"/>
              <a:chOff x="0" y="0"/>
              <a:chExt cx="416" cy="414"/>
            </a:xfrm>
          </p:grpSpPr>
          <p:sp>
            <p:nvSpPr>
              <p:cNvPr id="48" name="Oval 39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rgbClr val="FF0000">
                  <a:alpha val="70000"/>
                </a:srgb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49" name="Picture 40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47" name="Text Box 41"/>
            <p:cNvSpPr txBox="1">
              <a:spLocks noChangeArrowheads="1"/>
            </p:cNvSpPr>
            <p:nvPr/>
          </p:nvSpPr>
          <p:spPr bwMode="auto">
            <a:xfrm>
              <a:off x="6650038" y="2238375"/>
              <a:ext cx="866775" cy="336550"/>
            </a:xfrm>
            <a:prstGeom prst="rect">
              <a:avLst/>
            </a:prstGeom>
            <a:noFill/>
            <a:ln w="9525" cap="flat" cmpd="sng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,500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50" name="未知"/>
          <p:cNvSpPr/>
          <p:nvPr/>
        </p:nvSpPr>
        <p:spPr bwMode="auto">
          <a:xfrm rot="21230691">
            <a:off x="1789113" y="1074807"/>
            <a:ext cx="4384675" cy="1323975"/>
          </a:xfrm>
          <a:custGeom>
            <a:avLst/>
            <a:gdLst/>
            <a:ahLst/>
            <a:cxnLst>
              <a:cxn ang="0">
                <a:pos x="247" y="884"/>
              </a:cxn>
              <a:cxn ang="0">
                <a:pos x="451" y="708"/>
              </a:cxn>
              <a:cxn ang="0">
                <a:pos x="655" y="562"/>
              </a:cxn>
              <a:cxn ang="0">
                <a:pos x="856" y="439"/>
              </a:cxn>
              <a:cxn ang="0">
                <a:pos x="1053" y="342"/>
              </a:cxn>
              <a:cxn ang="0">
                <a:pos x="1242" y="264"/>
              </a:cxn>
              <a:cxn ang="0">
                <a:pos x="1419" y="204"/>
              </a:cxn>
              <a:cxn ang="0">
                <a:pos x="1586" y="160"/>
              </a:cxn>
              <a:cxn ang="0">
                <a:pos x="1737" y="131"/>
              </a:cxn>
              <a:cxn ang="0">
                <a:pos x="1871" y="112"/>
              </a:cxn>
              <a:cxn ang="0">
                <a:pos x="1988" y="103"/>
              </a:cxn>
              <a:cxn ang="0">
                <a:pos x="2082" y="99"/>
              </a:cxn>
              <a:cxn ang="0">
                <a:pos x="2152" y="99"/>
              </a:cxn>
              <a:cxn ang="0">
                <a:pos x="2195" y="102"/>
              </a:cxn>
              <a:cxn ang="0">
                <a:pos x="2210" y="102"/>
              </a:cxn>
              <a:cxn ang="0">
                <a:pos x="2706" y="330"/>
              </a:cxn>
              <a:cxn ang="0">
                <a:pos x="2336" y="358"/>
              </a:cxn>
              <a:cxn ang="0">
                <a:pos x="2326" y="354"/>
              </a:cxn>
              <a:cxn ang="0">
                <a:pos x="2293" y="345"/>
              </a:cxn>
              <a:cxn ang="0">
                <a:pos x="2241" y="330"/>
              </a:cxn>
              <a:cxn ang="0">
                <a:pos x="2168" y="317"/>
              </a:cxn>
              <a:cxn ang="0">
                <a:pos x="2075" y="306"/>
              </a:cxn>
              <a:cxn ang="0">
                <a:pos x="1966" y="298"/>
              </a:cxn>
              <a:cxn ang="0">
                <a:pos x="1838" y="298"/>
              </a:cxn>
              <a:cxn ang="0">
                <a:pos x="1692" y="309"/>
              </a:cxn>
              <a:cxn ang="0">
                <a:pos x="1533" y="330"/>
              </a:cxn>
              <a:cxn ang="0">
                <a:pos x="1354" y="371"/>
              </a:cxn>
              <a:cxn ang="0">
                <a:pos x="1164" y="428"/>
              </a:cxn>
              <a:cxn ang="0">
                <a:pos x="960" y="505"/>
              </a:cxn>
              <a:cxn ang="0">
                <a:pos x="742" y="608"/>
              </a:cxn>
              <a:cxn ang="0">
                <a:pos x="512" y="736"/>
              </a:cxn>
              <a:cxn ang="0">
                <a:pos x="271" y="892"/>
              </a:cxn>
            </a:cxnLst>
            <a:rect l="0" t="0" r="r" b="b"/>
            <a:pathLst>
              <a:path w="2706" h="1093">
                <a:moveTo>
                  <a:pt x="0" y="1093"/>
                </a:moveTo>
                <a:lnTo>
                  <a:pt x="247" y="884"/>
                </a:lnTo>
                <a:lnTo>
                  <a:pt x="350" y="793"/>
                </a:lnTo>
                <a:lnTo>
                  <a:pt x="451" y="708"/>
                </a:lnTo>
                <a:lnTo>
                  <a:pt x="553" y="631"/>
                </a:lnTo>
                <a:lnTo>
                  <a:pt x="655" y="562"/>
                </a:lnTo>
                <a:lnTo>
                  <a:pt x="756" y="497"/>
                </a:lnTo>
                <a:lnTo>
                  <a:pt x="856" y="439"/>
                </a:lnTo>
                <a:lnTo>
                  <a:pt x="955" y="388"/>
                </a:lnTo>
                <a:lnTo>
                  <a:pt x="1053" y="342"/>
                </a:lnTo>
                <a:lnTo>
                  <a:pt x="1148" y="300"/>
                </a:lnTo>
                <a:lnTo>
                  <a:pt x="1242" y="264"/>
                </a:lnTo>
                <a:lnTo>
                  <a:pt x="1331" y="232"/>
                </a:lnTo>
                <a:lnTo>
                  <a:pt x="1419" y="204"/>
                </a:lnTo>
                <a:lnTo>
                  <a:pt x="1504" y="182"/>
                </a:lnTo>
                <a:lnTo>
                  <a:pt x="1586" y="160"/>
                </a:lnTo>
                <a:lnTo>
                  <a:pt x="1664" y="144"/>
                </a:lnTo>
                <a:lnTo>
                  <a:pt x="1737" y="131"/>
                </a:lnTo>
                <a:lnTo>
                  <a:pt x="1807" y="121"/>
                </a:lnTo>
                <a:lnTo>
                  <a:pt x="1871" y="112"/>
                </a:lnTo>
                <a:lnTo>
                  <a:pt x="1932" y="107"/>
                </a:lnTo>
                <a:lnTo>
                  <a:pt x="1988" y="103"/>
                </a:lnTo>
                <a:lnTo>
                  <a:pt x="2038" y="100"/>
                </a:lnTo>
                <a:lnTo>
                  <a:pt x="2082" y="99"/>
                </a:lnTo>
                <a:lnTo>
                  <a:pt x="2121" y="100"/>
                </a:lnTo>
                <a:lnTo>
                  <a:pt x="2152" y="99"/>
                </a:lnTo>
                <a:lnTo>
                  <a:pt x="2178" y="101"/>
                </a:lnTo>
                <a:lnTo>
                  <a:pt x="2195" y="102"/>
                </a:lnTo>
                <a:lnTo>
                  <a:pt x="2206" y="102"/>
                </a:lnTo>
                <a:lnTo>
                  <a:pt x="2210" y="102"/>
                </a:lnTo>
                <a:lnTo>
                  <a:pt x="2146" y="0"/>
                </a:lnTo>
                <a:lnTo>
                  <a:pt x="2706" y="330"/>
                </a:lnTo>
                <a:lnTo>
                  <a:pt x="2270" y="473"/>
                </a:lnTo>
                <a:lnTo>
                  <a:pt x="2336" y="358"/>
                </a:lnTo>
                <a:lnTo>
                  <a:pt x="2335" y="357"/>
                </a:lnTo>
                <a:lnTo>
                  <a:pt x="2326" y="354"/>
                </a:lnTo>
                <a:lnTo>
                  <a:pt x="2313" y="350"/>
                </a:lnTo>
                <a:lnTo>
                  <a:pt x="2293" y="345"/>
                </a:lnTo>
                <a:lnTo>
                  <a:pt x="2270" y="337"/>
                </a:lnTo>
                <a:lnTo>
                  <a:pt x="2241" y="330"/>
                </a:lnTo>
                <a:lnTo>
                  <a:pt x="2207" y="323"/>
                </a:lnTo>
                <a:lnTo>
                  <a:pt x="2168" y="317"/>
                </a:lnTo>
                <a:lnTo>
                  <a:pt x="2124" y="311"/>
                </a:lnTo>
                <a:lnTo>
                  <a:pt x="2075" y="306"/>
                </a:lnTo>
                <a:lnTo>
                  <a:pt x="2024" y="301"/>
                </a:lnTo>
                <a:lnTo>
                  <a:pt x="1966" y="298"/>
                </a:lnTo>
                <a:lnTo>
                  <a:pt x="1905" y="295"/>
                </a:lnTo>
                <a:lnTo>
                  <a:pt x="1838" y="298"/>
                </a:lnTo>
                <a:lnTo>
                  <a:pt x="1767" y="301"/>
                </a:lnTo>
                <a:lnTo>
                  <a:pt x="1692" y="309"/>
                </a:lnTo>
                <a:lnTo>
                  <a:pt x="1613" y="317"/>
                </a:lnTo>
                <a:lnTo>
                  <a:pt x="1533" y="330"/>
                </a:lnTo>
                <a:lnTo>
                  <a:pt x="1445" y="349"/>
                </a:lnTo>
                <a:lnTo>
                  <a:pt x="1354" y="371"/>
                </a:lnTo>
                <a:lnTo>
                  <a:pt x="1262" y="397"/>
                </a:lnTo>
                <a:lnTo>
                  <a:pt x="1164" y="428"/>
                </a:lnTo>
                <a:lnTo>
                  <a:pt x="1065" y="464"/>
                </a:lnTo>
                <a:lnTo>
                  <a:pt x="960" y="505"/>
                </a:lnTo>
                <a:lnTo>
                  <a:pt x="853" y="553"/>
                </a:lnTo>
                <a:lnTo>
                  <a:pt x="742" y="608"/>
                </a:lnTo>
                <a:lnTo>
                  <a:pt x="629" y="669"/>
                </a:lnTo>
                <a:lnTo>
                  <a:pt x="512" y="736"/>
                </a:lnTo>
                <a:lnTo>
                  <a:pt x="393" y="809"/>
                </a:lnTo>
                <a:lnTo>
                  <a:pt x="271" y="892"/>
                </a:lnTo>
                <a:lnTo>
                  <a:pt x="0" y="1093"/>
                </a:lnTo>
                <a:close/>
              </a:path>
            </a:pathLst>
          </a:custGeom>
          <a:gradFill rotWithShape="1">
            <a:gsLst>
              <a:gs pos="0">
                <a:srgbClr val="C0C0C0"/>
              </a:gs>
              <a:gs pos="50000">
                <a:srgbClr val="C0C0C0">
                  <a:gamma/>
                  <a:tint val="0"/>
                  <a:invGamma/>
                </a:srgbClr>
              </a:gs>
              <a:gs pos="100000">
                <a:srgbClr val="C0C0C0"/>
              </a:gs>
            </a:gsLst>
            <a:lin ang="0" scaled="1"/>
          </a:gradFill>
          <a:ln w="9525" cap="flat" cmpd="sng">
            <a:noFill/>
            <a:round/>
          </a:ln>
          <a:effectLst/>
          <a:scene3d>
            <a:camera prst="legacyObliqueFront">
              <a:rot lat="20099999" lon="600000" rev="0"/>
            </a:camera>
            <a:lightRig rig="legacyFlat3" dir="t"/>
          </a:scene3d>
          <a:sp3d extrusionH="100000" prstMaterial="legacyMatte">
            <a:bevelT w="13500" h="13500" prst="angle"/>
            <a:bevelB w="13500" h="13500" prst="angle"/>
            <a:extrusionClr>
              <a:srgbClr val="C0C0C0"/>
            </a:extrusionClr>
          </a:sp3d>
        </p:spPr>
        <p:txBody>
          <a:bodyPr>
            <a:flatTx/>
          </a:bodyPr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Text Box 43"/>
          <p:cNvSpPr txBox="1">
            <a:spLocks noChangeArrowheads="1"/>
          </p:cNvSpPr>
          <p:nvPr/>
        </p:nvSpPr>
        <p:spPr bwMode="auto">
          <a:xfrm>
            <a:off x="2240196" y="3789432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Text Box 44"/>
          <p:cNvSpPr txBox="1">
            <a:spLocks noChangeArrowheads="1"/>
          </p:cNvSpPr>
          <p:nvPr/>
        </p:nvSpPr>
        <p:spPr bwMode="auto">
          <a:xfrm>
            <a:off x="1312863" y="3776732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1428750" y="2749620"/>
            <a:ext cx="660400" cy="657225"/>
            <a:chOff x="1428750" y="3811588"/>
            <a:chExt cx="660400" cy="657225"/>
          </a:xfrm>
        </p:grpSpPr>
        <p:grpSp>
          <p:nvGrpSpPr>
            <p:cNvPr id="54" name="Group 19"/>
            <p:cNvGrpSpPr/>
            <p:nvPr/>
          </p:nvGrpSpPr>
          <p:grpSpPr bwMode="auto">
            <a:xfrm>
              <a:off x="1428750" y="3811588"/>
              <a:ext cx="660400" cy="657225"/>
              <a:chOff x="0" y="0"/>
              <a:chExt cx="416" cy="414"/>
            </a:xfrm>
          </p:grpSpPr>
          <p:sp>
            <p:nvSpPr>
              <p:cNvPr id="56" name="Oval 20"/>
              <p:cNvSpPr>
                <a:spLocks noChangeArrowheads="1"/>
              </p:cNvSpPr>
              <p:nvPr/>
            </p:nvSpPr>
            <p:spPr bwMode="auto">
              <a:xfrm>
                <a:off x="0" y="2"/>
                <a:ext cx="416" cy="412"/>
              </a:xfrm>
              <a:prstGeom prst="ellipse">
                <a:avLst/>
              </a:prstGeom>
              <a:solidFill>
                <a:schemeClr val="tx1">
                  <a:lumMod val="65000"/>
                  <a:alpha val="70000"/>
                </a:schemeClr>
              </a:solidFill>
              <a:ln w="28575" cap="flat" cmpd="sng">
                <a:solidFill>
                  <a:srgbClr val="F8F8F8">
                    <a:alpha val="65999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57" name="Picture 21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35" y="0"/>
                <a:ext cx="344" cy="344"/>
              </a:xfrm>
              <a:prstGeom prst="rect">
                <a:avLst/>
              </a:prstGeom>
              <a:noFill/>
              <a:ln w="9525" cap="flat" cmpd="sng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55" name="Text Box 45"/>
            <p:cNvSpPr txBox="1">
              <a:spLocks noChangeArrowheads="1"/>
            </p:cNvSpPr>
            <p:nvPr/>
          </p:nvSpPr>
          <p:spPr bwMode="auto">
            <a:xfrm>
              <a:off x="1470025" y="3965575"/>
              <a:ext cx="582613" cy="338554"/>
            </a:xfrm>
            <a:prstGeom prst="rect">
              <a:avLst/>
            </a:prstGeom>
            <a:noFill/>
            <a:ln w="9525" cap="flat" cmpd="sng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500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sp>
        <p:nvSpPr>
          <p:cNvPr id="58" name="Text Box 46"/>
          <p:cNvSpPr txBox="1">
            <a:spLocks noChangeArrowheads="1"/>
          </p:cNvSpPr>
          <p:nvPr/>
        </p:nvSpPr>
        <p:spPr bwMode="auto">
          <a:xfrm>
            <a:off x="4424363" y="3789432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Text Box 47"/>
          <p:cNvSpPr txBox="1">
            <a:spLocks noChangeArrowheads="1"/>
          </p:cNvSpPr>
          <p:nvPr/>
        </p:nvSpPr>
        <p:spPr bwMode="auto">
          <a:xfrm>
            <a:off x="3509963" y="3789432"/>
            <a:ext cx="915987" cy="30480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Text Box 48"/>
          <p:cNvSpPr txBox="1">
            <a:spLocks noChangeArrowheads="1"/>
          </p:cNvSpPr>
          <p:nvPr/>
        </p:nvSpPr>
        <p:spPr bwMode="auto">
          <a:xfrm>
            <a:off x="6635750" y="3789432"/>
            <a:ext cx="915988" cy="30480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Text Box 49"/>
          <p:cNvSpPr txBox="1">
            <a:spLocks noChangeArrowheads="1"/>
          </p:cNvSpPr>
          <p:nvPr/>
        </p:nvSpPr>
        <p:spPr bwMode="auto">
          <a:xfrm>
            <a:off x="5721350" y="3789432"/>
            <a:ext cx="915988" cy="304800"/>
          </a:xfrm>
          <a:prstGeom prst="rect">
            <a:avLst/>
          </a:prstGeom>
          <a:noFill/>
          <a:ln w="9525" cap="flat" cmpd="sng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4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000"/>
                            </p:stCondLst>
                            <p:childTnLst>
                              <p:par>
                                <p:cTn id="4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000"/>
                            </p:stCondLst>
                            <p:childTnLst>
                              <p:par>
                                <p:cTn id="63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500"/>
                            </p:stCondLst>
                            <p:childTnLst>
                              <p:par>
                                <p:cTn id="6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500"/>
                            </p:stCondLst>
                            <p:childTnLst>
                              <p:par>
                                <p:cTn id="78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8000"/>
                            </p:stCondLst>
                            <p:childTnLst>
                              <p:par>
                                <p:cTn id="8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500"/>
                            </p:stCondLst>
                            <p:childTnLst>
                              <p:par>
                                <p:cTn id="8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000"/>
                            </p:stCondLst>
                            <p:childTnLst>
                              <p:par>
                                <p:cTn id="93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0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7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  <p:bldP spid="24" grpId="0"/>
      <p:bldP spid="50" grpId="0" animBg="1"/>
      <p:bldP spid="51" grpId="0"/>
      <p:bldP spid="52" grpId="0"/>
      <p:bldP spid="58" grpId="0"/>
      <p:bldP spid="59" grpId="0"/>
      <p:bldP spid="60" grpId="0"/>
      <p:bldP spid="6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1035050" y="2055391"/>
            <a:ext cx="1995488" cy="1500188"/>
            <a:chOff x="1035050" y="2968625"/>
            <a:chExt cx="1995488" cy="1500188"/>
          </a:xfrm>
        </p:grpSpPr>
        <p:grpSp>
          <p:nvGrpSpPr>
            <p:cNvPr id="4" name="Group 2"/>
            <p:cNvGrpSpPr/>
            <p:nvPr/>
          </p:nvGrpSpPr>
          <p:grpSpPr bwMode="auto">
            <a:xfrm>
              <a:off x="1035050" y="3482975"/>
              <a:ext cx="1995488" cy="985838"/>
              <a:chOff x="0" y="0"/>
              <a:chExt cx="1257" cy="621"/>
            </a:xfrm>
          </p:grpSpPr>
          <p:sp>
            <p:nvSpPr>
              <p:cNvPr id="6" name="AutoShape 3"/>
              <p:cNvSpPr>
                <a:spLocks noChangeArrowheads="1"/>
              </p:cNvSpPr>
              <p:nvPr/>
            </p:nvSpPr>
            <p:spPr bwMode="auto">
              <a:xfrm>
                <a:off x="0" y="192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rgbClr val="777777">
                      <a:alpha val="59999"/>
                    </a:srgbClr>
                  </a:gs>
                  <a:gs pos="100000">
                    <a:srgbClr val="4D4D4D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ea typeface="宋体" panose="02010600030101010101" pitchFamily="2" charset="-122"/>
                </a:endParaRPr>
              </a:p>
            </p:txBody>
          </p:sp>
          <p:sp>
            <p:nvSpPr>
              <p:cNvPr id="7" name="AutoShape 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rgbClr val="4D4D4D"/>
                  </a:gs>
                  <a:gs pos="100000">
                    <a:srgbClr val="777777"/>
                  </a:gs>
                </a:gsLst>
                <a:lin ang="18900000" scaled="1"/>
              </a:gradFill>
              <a:ln w="15875" cap="flat" cmpd="sng">
                <a:solidFill>
                  <a:srgbClr val="EAEAEA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5" name="AutoShape 6"/>
            <p:cNvSpPr>
              <a:spLocks noChangeArrowheads="1"/>
            </p:cNvSpPr>
            <p:nvPr/>
          </p:nvSpPr>
          <p:spPr bwMode="auto">
            <a:xfrm>
              <a:off x="1035050" y="2968625"/>
              <a:ext cx="1995488" cy="68103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4D4D4D">
                    <a:alpha val="59999"/>
                  </a:srgbClr>
                </a:gs>
                <a:gs pos="100000">
                  <a:srgbClr val="C0C0C0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ea typeface="宋体" panose="02010600030101010101" pitchFamily="2" charset="-122"/>
              </a:endParaRPr>
            </a:p>
          </p:txBody>
        </p:sp>
      </p:grpSp>
      <p:grpSp>
        <p:nvGrpSpPr>
          <p:cNvPr id="8" name="Group 6"/>
          <p:cNvGrpSpPr/>
          <p:nvPr/>
        </p:nvGrpSpPr>
        <p:grpSpPr bwMode="auto">
          <a:xfrm>
            <a:off x="1755775" y="1407691"/>
            <a:ext cx="558800" cy="1493838"/>
            <a:chOff x="0" y="0"/>
            <a:chExt cx="282" cy="753"/>
          </a:xfrm>
        </p:grpSpPr>
        <p:sp>
          <p:nvSpPr>
            <p:cNvPr id="9" name="WordArt 8"/>
            <p:cNvSpPr>
              <a:spLocks noChangeArrowheads="1" noChangeShapeType="1" noTextEdit="1"/>
            </p:cNvSpPr>
            <p:nvPr/>
          </p:nvSpPr>
          <p:spPr bwMode="auto">
            <a:xfrm>
              <a:off x="0" y="0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2400" b="1" dirty="0">
                  <a:ln w="9525" cap="flat" cmpd="sng">
                    <a:solidFill>
                      <a:srgbClr val="808080"/>
                    </a:solidFill>
                    <a:round/>
                  </a:ln>
                  <a:gradFill rotWithShape="1">
                    <a:gsLst>
                      <a:gs pos="0">
                        <a:srgbClr val="EAEAEA"/>
                      </a:gs>
                      <a:gs pos="100000">
                        <a:srgbClr val="B2B2B2"/>
                      </a:gs>
                    </a:gsLst>
                    <a:lin ang="5400000" scaled="1"/>
                  </a:gradFill>
                  <a:latin typeface="Arial" panose="020B0604020202020204"/>
                  <a:cs typeface="Arial" panose="020B0604020202020204"/>
                </a:rPr>
                <a:t>2</a:t>
              </a:r>
              <a:endParaRPr lang="zh-CN" altLang="en-US" sz="2400" b="1" dirty="0">
                <a:ln w="9525" cap="flat" cmpd="sng">
                  <a:solidFill>
                    <a:srgbClr val="808080"/>
                  </a:solidFill>
                  <a:round/>
                </a:ln>
                <a:gradFill rotWithShape="1">
                  <a:gsLst>
                    <a:gs pos="0">
                      <a:srgbClr val="EAEAEA"/>
                    </a:gs>
                    <a:gs pos="100000">
                      <a:srgbClr val="B2B2B2"/>
                    </a:gs>
                  </a:gsLst>
                  <a:lin ang="5400000" scaled="1"/>
                </a:gradFill>
                <a:latin typeface="Arial" panose="020B0604020202020204"/>
                <a:cs typeface="Arial" panose="020B0604020202020204"/>
              </a:endParaRPr>
            </a:p>
          </p:txBody>
        </p:sp>
        <p:sp>
          <p:nvSpPr>
            <p:cNvPr id="10" name="WordArt 9"/>
            <p:cNvSpPr>
              <a:spLocks noChangeArrowheads="1" noChangeShapeType="1" noTextEdit="1"/>
            </p:cNvSpPr>
            <p:nvPr/>
          </p:nvSpPr>
          <p:spPr bwMode="auto">
            <a:xfrm flipV="1">
              <a:off x="0" y="381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2400" b="1" dirty="0">
                  <a:ln w="9525">
                    <a:noFill/>
                    <a:round/>
                  </a:ln>
                  <a:gradFill rotWithShape="1">
                    <a:gsLst>
                      <a:gs pos="0">
                        <a:srgbClr val="B2B2B2">
                          <a:alpha val="0"/>
                        </a:srgbClr>
                      </a:gs>
                      <a:gs pos="100000">
                        <a:srgbClr val="EAEAEA">
                          <a:alpha val="20000"/>
                        </a:srgbClr>
                      </a:gs>
                    </a:gsLst>
                    <a:lin ang="5400000" scaled="1"/>
                  </a:gradFill>
                  <a:latin typeface="Arial" panose="020B0604020202020204"/>
                  <a:cs typeface="Arial" panose="020B0604020202020204"/>
                </a:rPr>
                <a:t>2</a:t>
              </a:r>
              <a:endParaRPr lang="zh-CN" altLang="en-US" sz="2400" b="1" dirty="0">
                <a:ln w="9525">
                  <a:noFill/>
                  <a:round/>
                </a:ln>
                <a:gradFill rotWithShape="1">
                  <a:gsLst>
                    <a:gs pos="0">
                      <a:srgbClr val="B2B2B2">
                        <a:alpha val="0"/>
                      </a:srgbClr>
                    </a:gs>
                    <a:gs pos="100000">
                      <a:srgbClr val="EAEAEA">
                        <a:alpha val="20000"/>
                      </a:srgbClr>
                    </a:gs>
                  </a:gsLst>
                  <a:lin ang="5400000" scaled="1"/>
                </a:gradFill>
                <a:latin typeface="Arial" panose="020B0604020202020204"/>
                <a:cs typeface="Arial" panose="020B0604020202020204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3581400" y="1544216"/>
            <a:ext cx="1995488" cy="2097088"/>
            <a:chOff x="3581400" y="2457450"/>
            <a:chExt cx="1995488" cy="2097088"/>
          </a:xfrm>
        </p:grpSpPr>
        <p:grpSp>
          <p:nvGrpSpPr>
            <p:cNvPr id="12" name="Group 9"/>
            <p:cNvGrpSpPr/>
            <p:nvPr/>
          </p:nvGrpSpPr>
          <p:grpSpPr bwMode="auto">
            <a:xfrm>
              <a:off x="3581400" y="3482975"/>
              <a:ext cx="1995488" cy="1071563"/>
              <a:chOff x="0" y="0"/>
              <a:chExt cx="1257" cy="675"/>
            </a:xfrm>
          </p:grpSpPr>
          <p:sp>
            <p:nvSpPr>
              <p:cNvPr id="15" name="AutoShape 11"/>
              <p:cNvSpPr>
                <a:spLocks noChangeArrowheads="1"/>
              </p:cNvSpPr>
              <p:nvPr/>
            </p:nvSpPr>
            <p:spPr bwMode="auto">
              <a:xfrm>
                <a:off x="0" y="246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alpha val="59999"/>
                    </a:schemeClr>
                  </a:gs>
                  <a:gs pos="100000">
                    <a:srgbClr val="4D4D4D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ea typeface="宋体" panose="02010600030101010101" pitchFamily="2" charset="-122"/>
                </a:endParaRPr>
              </a:p>
            </p:txBody>
          </p:sp>
          <p:sp>
            <p:nvSpPr>
              <p:cNvPr id="16" name="AutoShape 1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257" cy="429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alpha val="20000"/>
                    </a:schemeClr>
                  </a:gs>
                  <a:gs pos="100000">
                    <a:srgbClr val="FF0000"/>
                  </a:gs>
                </a:gsLst>
                <a:lin ang="18900000" scaled="1"/>
              </a:gradFill>
              <a:ln w="15875" cap="flat" cmpd="sng">
                <a:solidFill>
                  <a:srgbClr val="EAEAEA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ctr"/>
                <a:endParaRPr lang="zh-CN" altLang="en-US">
                  <a:ea typeface="宋体" panose="02010600030101010101" pitchFamily="2" charset="-122"/>
                </a:endParaRPr>
              </a:p>
            </p:txBody>
          </p:sp>
        </p:grpSp>
        <p:sp>
          <p:nvSpPr>
            <p:cNvPr id="13" name="AutoShape 13"/>
            <p:cNvSpPr>
              <a:spLocks noChangeArrowheads="1"/>
            </p:cNvSpPr>
            <p:nvPr/>
          </p:nvSpPr>
          <p:spPr bwMode="auto">
            <a:xfrm>
              <a:off x="3581400" y="2968625"/>
              <a:ext cx="1995488" cy="68103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chemeClr val="accent2">
                    <a:alpha val="20000"/>
                  </a:schemeClr>
                </a:gs>
                <a:gs pos="100000">
                  <a:srgbClr val="FF0000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ea typeface="宋体" panose="02010600030101010101" pitchFamily="2" charset="-122"/>
              </a:endParaRPr>
            </a:p>
          </p:txBody>
        </p:sp>
        <p:sp>
          <p:nvSpPr>
            <p:cNvPr id="14" name="AutoShape 14"/>
            <p:cNvSpPr>
              <a:spLocks noChangeArrowheads="1"/>
            </p:cNvSpPr>
            <p:nvPr/>
          </p:nvSpPr>
          <p:spPr bwMode="auto">
            <a:xfrm>
              <a:off x="3581400" y="2457450"/>
              <a:ext cx="1995488" cy="681038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chemeClr val="accent2">
                    <a:alpha val="20000"/>
                  </a:schemeClr>
                </a:gs>
                <a:gs pos="100000">
                  <a:srgbClr val="FF0000"/>
                </a:gs>
              </a:gsLst>
              <a:lin ang="18900000" scaled="1"/>
            </a:gradFill>
            <a:ln w="15875" cap="flat" cmpd="sng">
              <a:solidFill>
                <a:srgbClr val="EAEAEA"/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ea typeface="宋体" panose="02010600030101010101" pitchFamily="2" charset="-122"/>
              </a:endParaRPr>
            </a:p>
          </p:txBody>
        </p:sp>
      </p:grpSp>
      <p:grpSp>
        <p:nvGrpSpPr>
          <p:cNvPr id="17" name="Group 14"/>
          <p:cNvGrpSpPr/>
          <p:nvPr/>
        </p:nvGrpSpPr>
        <p:grpSpPr bwMode="auto">
          <a:xfrm>
            <a:off x="4243388" y="915566"/>
            <a:ext cx="558800" cy="1493838"/>
            <a:chOff x="0" y="0"/>
            <a:chExt cx="282" cy="753"/>
          </a:xfrm>
        </p:grpSpPr>
        <p:sp>
          <p:nvSpPr>
            <p:cNvPr id="18" name="WordArt 16"/>
            <p:cNvSpPr>
              <a:spLocks noChangeArrowheads="1" noChangeShapeType="1" noTextEdit="1"/>
            </p:cNvSpPr>
            <p:nvPr/>
          </p:nvSpPr>
          <p:spPr bwMode="auto">
            <a:xfrm>
              <a:off x="0" y="0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2400" b="1" dirty="0">
                  <a:ln w="9525" cap="flat" cmpd="sng">
                    <a:solidFill>
                      <a:srgbClr val="808080"/>
                    </a:solidFill>
                    <a:round/>
                  </a:ln>
                  <a:gradFill rotWithShape="1">
                    <a:gsLst>
                      <a:gs pos="0">
                        <a:srgbClr val="EAEAEA"/>
                      </a:gs>
                      <a:gs pos="100000">
                        <a:srgbClr val="B2B2B2"/>
                      </a:gs>
                    </a:gsLst>
                    <a:lin ang="5400000" scaled="1"/>
                  </a:gradFill>
                  <a:latin typeface="Arial" panose="020B0604020202020204"/>
                  <a:cs typeface="Arial" panose="020B0604020202020204"/>
                </a:rPr>
                <a:t>1</a:t>
              </a:r>
              <a:endParaRPr lang="zh-CN" altLang="en-US" sz="2400" b="1" dirty="0">
                <a:ln w="9525" cap="flat" cmpd="sng">
                  <a:solidFill>
                    <a:srgbClr val="808080"/>
                  </a:solidFill>
                  <a:round/>
                </a:ln>
                <a:gradFill rotWithShape="1">
                  <a:gsLst>
                    <a:gs pos="0">
                      <a:srgbClr val="EAEAEA"/>
                    </a:gs>
                    <a:gs pos="100000">
                      <a:srgbClr val="B2B2B2"/>
                    </a:gs>
                  </a:gsLst>
                  <a:lin ang="5400000" scaled="1"/>
                </a:gradFill>
                <a:latin typeface="Arial" panose="020B0604020202020204"/>
                <a:cs typeface="Arial" panose="020B0604020202020204"/>
              </a:endParaRPr>
            </a:p>
          </p:txBody>
        </p:sp>
        <p:sp>
          <p:nvSpPr>
            <p:cNvPr id="19" name="WordArt 17"/>
            <p:cNvSpPr>
              <a:spLocks noChangeArrowheads="1" noChangeShapeType="1" noTextEdit="1"/>
            </p:cNvSpPr>
            <p:nvPr/>
          </p:nvSpPr>
          <p:spPr bwMode="auto">
            <a:xfrm flipV="1">
              <a:off x="0" y="381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2400" b="1" dirty="0">
                  <a:ln w="9525">
                    <a:noFill/>
                    <a:round/>
                  </a:ln>
                  <a:gradFill rotWithShape="1">
                    <a:gsLst>
                      <a:gs pos="0">
                        <a:srgbClr val="B2B2B2">
                          <a:alpha val="0"/>
                        </a:srgbClr>
                      </a:gs>
                      <a:gs pos="100000">
                        <a:srgbClr val="EAEAEA">
                          <a:alpha val="20000"/>
                        </a:srgbClr>
                      </a:gs>
                    </a:gsLst>
                    <a:lin ang="5400000" scaled="1"/>
                  </a:gradFill>
                  <a:latin typeface="Arial" panose="020B0604020202020204"/>
                  <a:cs typeface="Arial" panose="020B0604020202020204"/>
                </a:rPr>
                <a:t>1</a:t>
              </a:r>
              <a:endParaRPr lang="zh-CN" altLang="en-US" sz="2400" b="1" dirty="0">
                <a:ln w="9525">
                  <a:noFill/>
                  <a:round/>
                </a:ln>
                <a:gradFill rotWithShape="1">
                  <a:gsLst>
                    <a:gs pos="0">
                      <a:srgbClr val="B2B2B2">
                        <a:alpha val="0"/>
                      </a:srgbClr>
                    </a:gs>
                    <a:gs pos="100000">
                      <a:srgbClr val="EAEAEA">
                        <a:alpha val="20000"/>
                      </a:srgbClr>
                    </a:gs>
                  </a:gsLst>
                  <a:lin ang="5400000" scaled="1"/>
                </a:gradFill>
                <a:latin typeface="Arial" panose="020B0604020202020204"/>
                <a:cs typeface="Arial" panose="020B0604020202020204"/>
              </a:endParaRPr>
            </a:p>
          </p:txBody>
        </p:sp>
      </p:grpSp>
      <p:grpSp>
        <p:nvGrpSpPr>
          <p:cNvPr id="20" name="Group 17"/>
          <p:cNvGrpSpPr/>
          <p:nvPr/>
        </p:nvGrpSpPr>
        <p:grpSpPr bwMode="auto">
          <a:xfrm>
            <a:off x="6199188" y="2569741"/>
            <a:ext cx="1998662" cy="985838"/>
            <a:chOff x="0" y="0"/>
            <a:chExt cx="1259" cy="621"/>
          </a:xfrm>
        </p:grpSpPr>
        <p:sp>
          <p:nvSpPr>
            <p:cNvPr id="21" name="AutoShape 19"/>
            <p:cNvSpPr>
              <a:spLocks noChangeArrowheads="1"/>
            </p:cNvSpPr>
            <p:nvPr/>
          </p:nvSpPr>
          <p:spPr bwMode="auto">
            <a:xfrm>
              <a:off x="2" y="192"/>
              <a:ext cx="1257" cy="42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777777">
                    <a:alpha val="59999"/>
                  </a:srgbClr>
                </a:gs>
                <a:gs pos="100000">
                  <a:srgbClr val="4D4D4D">
                    <a:alpha val="0"/>
                  </a:srgbClr>
                </a:gs>
              </a:gsLst>
              <a:lin ang="5400000" scaled="1"/>
            </a:gradFill>
            <a:ln w="9525">
              <a:noFill/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ea typeface="宋体" panose="02010600030101010101" pitchFamily="2" charset="-122"/>
              </a:endParaRPr>
            </a:p>
          </p:txBody>
        </p:sp>
        <p:sp>
          <p:nvSpPr>
            <p:cNvPr id="22" name="AutoShape 20"/>
            <p:cNvSpPr>
              <a:spLocks noChangeArrowheads="1"/>
            </p:cNvSpPr>
            <p:nvPr/>
          </p:nvSpPr>
          <p:spPr bwMode="auto">
            <a:xfrm>
              <a:off x="0" y="0"/>
              <a:ext cx="1257" cy="429"/>
            </a:xfrm>
            <a:prstGeom prst="can">
              <a:avLst>
                <a:gd name="adj" fmla="val 50000"/>
              </a:avLst>
            </a:prstGeom>
            <a:gradFill rotWithShape="1">
              <a:gsLst>
                <a:gs pos="0">
                  <a:srgbClr val="FFC000">
                    <a:alpha val="47000"/>
                  </a:srgbClr>
                </a:gs>
                <a:gs pos="100000">
                  <a:srgbClr val="FF6600"/>
                </a:gs>
              </a:gsLst>
              <a:lin ang="18900000" scaled="1"/>
            </a:gradFill>
            <a:ln w="15875" cap="flat" cmpd="sng">
              <a:solidFill>
                <a:schemeClr val="tx1"/>
              </a:solidFill>
              <a:round/>
            </a:ln>
            <a:effectLst/>
          </p:spPr>
          <p:txBody>
            <a:bodyPr wrap="none" anchor="ctr"/>
            <a:lstStyle/>
            <a:p>
              <a:pPr algn="ctr"/>
              <a:endParaRPr lang="zh-CN" altLang="en-US">
                <a:ea typeface="宋体" panose="02010600030101010101" pitchFamily="2" charset="-122"/>
              </a:endParaRPr>
            </a:p>
          </p:txBody>
        </p:sp>
      </p:grpSp>
      <p:grpSp>
        <p:nvGrpSpPr>
          <p:cNvPr id="23" name="Group 20"/>
          <p:cNvGrpSpPr/>
          <p:nvPr/>
        </p:nvGrpSpPr>
        <p:grpSpPr bwMode="auto">
          <a:xfrm>
            <a:off x="6911975" y="1910929"/>
            <a:ext cx="558800" cy="1493837"/>
            <a:chOff x="0" y="0"/>
            <a:chExt cx="282" cy="753"/>
          </a:xfrm>
        </p:grpSpPr>
        <p:sp>
          <p:nvSpPr>
            <p:cNvPr id="24" name="WordArt 22"/>
            <p:cNvSpPr>
              <a:spLocks noChangeArrowheads="1" noChangeShapeType="1" noTextEdit="1"/>
            </p:cNvSpPr>
            <p:nvPr/>
          </p:nvSpPr>
          <p:spPr bwMode="auto">
            <a:xfrm>
              <a:off x="0" y="0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2400" b="1" dirty="0">
                  <a:ln w="9525" cap="flat" cmpd="sng">
                    <a:solidFill>
                      <a:srgbClr val="808080"/>
                    </a:solidFill>
                    <a:round/>
                  </a:ln>
                  <a:gradFill rotWithShape="1">
                    <a:gsLst>
                      <a:gs pos="0">
                        <a:srgbClr val="EAEAEA"/>
                      </a:gs>
                      <a:gs pos="100000">
                        <a:srgbClr val="B2B2B2"/>
                      </a:gs>
                    </a:gsLst>
                    <a:lin ang="5400000" scaled="1"/>
                  </a:gradFill>
                  <a:latin typeface="Arial" panose="020B0604020202020204"/>
                  <a:cs typeface="Arial" panose="020B0604020202020204"/>
                </a:rPr>
                <a:t>3</a:t>
              </a:r>
              <a:endParaRPr lang="zh-CN" altLang="en-US" sz="2400" b="1" dirty="0">
                <a:ln w="9525" cap="flat" cmpd="sng">
                  <a:solidFill>
                    <a:srgbClr val="808080"/>
                  </a:solidFill>
                  <a:round/>
                </a:ln>
                <a:gradFill rotWithShape="1">
                  <a:gsLst>
                    <a:gs pos="0">
                      <a:srgbClr val="EAEAEA"/>
                    </a:gs>
                    <a:gs pos="100000">
                      <a:srgbClr val="B2B2B2"/>
                    </a:gs>
                  </a:gsLst>
                  <a:lin ang="5400000" scaled="1"/>
                </a:gradFill>
                <a:latin typeface="Arial" panose="020B0604020202020204"/>
                <a:cs typeface="Arial" panose="020B0604020202020204"/>
              </a:endParaRPr>
            </a:p>
          </p:txBody>
        </p:sp>
        <p:sp>
          <p:nvSpPr>
            <p:cNvPr id="25" name="WordArt 23"/>
            <p:cNvSpPr>
              <a:spLocks noChangeArrowheads="1" noChangeShapeType="1" noTextEdit="1"/>
            </p:cNvSpPr>
            <p:nvPr/>
          </p:nvSpPr>
          <p:spPr bwMode="auto">
            <a:xfrm flipV="1">
              <a:off x="0" y="381"/>
              <a:ext cx="282" cy="37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altLang="zh-CN" sz="2400" b="1">
                  <a:ln w="9525">
                    <a:noFill/>
                    <a:round/>
                  </a:ln>
                  <a:gradFill rotWithShape="1">
                    <a:gsLst>
                      <a:gs pos="0">
                        <a:srgbClr val="B2B2B2">
                          <a:alpha val="0"/>
                        </a:srgbClr>
                      </a:gs>
                      <a:gs pos="100000">
                        <a:srgbClr val="EAEAEA">
                          <a:alpha val="20000"/>
                        </a:srgbClr>
                      </a:gs>
                    </a:gsLst>
                    <a:lin ang="5400000" scaled="1"/>
                  </a:gradFill>
                  <a:latin typeface="Arial" panose="020B0604020202020204"/>
                  <a:cs typeface="Arial" panose="020B0604020202020204"/>
                </a:rPr>
                <a:t>3</a:t>
              </a:r>
              <a:endParaRPr lang="zh-CN" altLang="en-US" sz="2400" b="1">
                <a:ln w="9525">
                  <a:noFill/>
                  <a:round/>
                </a:ln>
                <a:gradFill rotWithShape="1">
                  <a:gsLst>
                    <a:gs pos="0">
                      <a:srgbClr val="B2B2B2">
                        <a:alpha val="0"/>
                      </a:srgbClr>
                    </a:gs>
                    <a:gs pos="100000">
                      <a:srgbClr val="EAEAEA">
                        <a:alpha val="20000"/>
                      </a:srgbClr>
                    </a:gs>
                  </a:gsLst>
                  <a:lin ang="5400000" scaled="1"/>
                </a:gradFill>
                <a:latin typeface="Arial" panose="020B0604020202020204"/>
                <a:cs typeface="Arial" panose="020B0604020202020204"/>
              </a:endParaRPr>
            </a:p>
          </p:txBody>
        </p:sp>
      </p:grpSp>
      <p:sp>
        <p:nvSpPr>
          <p:cNvPr id="26" name="Line 24"/>
          <p:cNvSpPr>
            <a:spLocks noChangeShapeType="1"/>
          </p:cNvSpPr>
          <p:nvPr/>
        </p:nvSpPr>
        <p:spPr bwMode="auto">
          <a:xfrm>
            <a:off x="3209925" y="3093616"/>
            <a:ext cx="0" cy="915988"/>
          </a:xfrm>
          <a:prstGeom prst="line">
            <a:avLst/>
          </a:prstGeom>
          <a:noFill/>
          <a:ln w="3175" cap="flat" cmpd="sng">
            <a:solidFill>
              <a:srgbClr val="969696"/>
            </a:solidFill>
            <a:prstDash val="dash"/>
            <a:round/>
          </a:ln>
          <a:effectLst/>
        </p:spPr>
        <p:txBody>
          <a:bodyPr/>
          <a:lstStyle/>
          <a:p>
            <a:pPr algn="ctr"/>
            <a:endParaRPr lang="zh-CN" altLang="en-US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Text Box 25"/>
          <p:cNvSpPr txBox="1">
            <a:spLocks noChangeArrowheads="1"/>
          </p:cNvSpPr>
          <p:nvPr/>
        </p:nvSpPr>
        <p:spPr bwMode="auto">
          <a:xfrm>
            <a:off x="6143625" y="3458741"/>
            <a:ext cx="2192338" cy="3667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内容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 Box 26"/>
          <p:cNvSpPr txBox="1">
            <a:spLocks noChangeArrowheads="1"/>
          </p:cNvSpPr>
          <p:nvPr/>
        </p:nvSpPr>
        <p:spPr bwMode="auto">
          <a:xfrm>
            <a:off x="960438" y="3458741"/>
            <a:ext cx="2074862" cy="3667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内容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 Box 27"/>
          <p:cNvSpPr txBox="1">
            <a:spLocks noChangeArrowheads="1"/>
          </p:cNvSpPr>
          <p:nvPr/>
        </p:nvSpPr>
        <p:spPr bwMode="auto">
          <a:xfrm>
            <a:off x="3571875" y="3458741"/>
            <a:ext cx="2016125" cy="3667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内容</a:t>
            </a:r>
            <a:endParaRPr lang="zh-CN" altLang="en-US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Line 28"/>
          <p:cNvSpPr>
            <a:spLocks noChangeShapeType="1"/>
          </p:cNvSpPr>
          <p:nvPr/>
        </p:nvSpPr>
        <p:spPr bwMode="auto">
          <a:xfrm>
            <a:off x="5851525" y="3093616"/>
            <a:ext cx="0" cy="915988"/>
          </a:xfrm>
          <a:prstGeom prst="line">
            <a:avLst/>
          </a:prstGeom>
          <a:noFill/>
          <a:ln w="3175" cap="flat" cmpd="sng">
            <a:solidFill>
              <a:srgbClr val="969696"/>
            </a:solidFill>
            <a:prstDash val="dash"/>
            <a:round/>
          </a:ln>
          <a:effectLst/>
        </p:spPr>
        <p:txBody>
          <a:bodyPr/>
          <a:lstStyle/>
          <a:p>
            <a:pPr algn="ctr"/>
            <a:endParaRPr lang="zh-CN" altLang="en-US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Rectangle 29"/>
          <p:cNvSpPr>
            <a:spLocks noChangeArrowheads="1"/>
          </p:cNvSpPr>
          <p:nvPr/>
        </p:nvSpPr>
        <p:spPr bwMode="auto">
          <a:xfrm>
            <a:off x="899592" y="3990554"/>
            <a:ext cx="2136775" cy="53553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L="263525" indent="-263525" algn="ctr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段落文字</a:t>
            </a:r>
            <a:endParaRPr lang="zh-CN" altLang="en-US" sz="12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3525" indent="-263525" algn="ctr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段落文字</a:t>
            </a:r>
            <a:endParaRPr lang="zh-CN" altLang="en-US" sz="12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Rectangle 30"/>
          <p:cNvSpPr>
            <a:spLocks noChangeArrowheads="1"/>
          </p:cNvSpPr>
          <p:nvPr/>
        </p:nvSpPr>
        <p:spPr bwMode="auto">
          <a:xfrm>
            <a:off x="3491880" y="3990554"/>
            <a:ext cx="2136775" cy="53553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L="263525" indent="-263525" algn="ctr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段落文字</a:t>
            </a:r>
            <a:endParaRPr lang="zh-CN" altLang="en-US" sz="12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3525" indent="-263525" algn="ctr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段落文字</a:t>
            </a:r>
            <a:endParaRPr lang="zh-CN" altLang="en-US" sz="12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Rectangle 31"/>
          <p:cNvSpPr>
            <a:spLocks noChangeArrowheads="1"/>
          </p:cNvSpPr>
          <p:nvPr/>
        </p:nvSpPr>
        <p:spPr bwMode="auto">
          <a:xfrm>
            <a:off x="6156176" y="3990554"/>
            <a:ext cx="2136775" cy="53553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marL="263525" indent="-263525" algn="ctr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段落文字</a:t>
            </a:r>
            <a:endParaRPr lang="zh-CN" altLang="en-US" sz="12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63525" indent="-263525" algn="ctr">
              <a:lnSpc>
                <a:spcPct val="120000"/>
              </a:lnSpc>
              <a:buFontTx/>
              <a:buChar char="•"/>
            </a:pPr>
            <a:r>
              <a:rPr lang="zh-CN" altLang="en-US" sz="1200" dirty="0"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段落文字</a:t>
            </a:r>
            <a:endParaRPr lang="zh-CN" altLang="en-US" sz="1200" dirty="0">
              <a:solidFill>
                <a:schemeClr val="tx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500"/>
                            </p:stCondLst>
                            <p:childTnLst>
                              <p:par>
                                <p:cTn id="44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500"/>
                            </p:stCondLst>
                            <p:childTnLst>
                              <p:par>
                                <p:cTn id="5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000"/>
                            </p:stCondLst>
                            <p:childTnLst>
                              <p:par>
                                <p:cTn id="5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900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8000"/>
                            </p:stCondLst>
                            <p:childTnLst>
                              <p:par>
                                <p:cTn id="6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900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9000"/>
                            </p:stCondLst>
                            <p:childTnLst>
                              <p:par>
                                <p:cTn id="69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7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0"/>
                            </p:stCondLst>
                            <p:childTnLst>
                              <p:par>
                                <p:cTn id="7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500"/>
                            </p:stCondLst>
                            <p:childTnLst>
                              <p:par>
                                <p:cTn id="8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9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1500"/>
                            </p:stCondLst>
                            <p:childTnLst>
                              <p:par>
                                <p:cTn id="8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9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/>
      <p:bldP spid="28" grpId="0"/>
      <p:bldP spid="29" grpId="0"/>
      <p:bldP spid="30" grpId="0" animBg="1"/>
      <p:bldP spid="31" grpId="0"/>
      <p:bldP spid="32" grpId="0"/>
      <p:bldP spid="3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60"/>
          <p:cNvSpPr>
            <a:spLocks noChangeArrowheads="1"/>
          </p:cNvSpPr>
          <p:nvPr/>
        </p:nvSpPr>
        <p:spPr bwMode="auto">
          <a:xfrm rot="5400000">
            <a:off x="2862000" y="-1280418"/>
            <a:ext cx="3420000" cy="8100000"/>
          </a:xfrm>
          <a:prstGeom prst="homePlate">
            <a:avLst>
              <a:gd name="adj" fmla="val 28135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845785" y="1709754"/>
            <a:ext cx="2340000" cy="1620000"/>
          </a:xfrm>
          <a:prstGeom prst="roundRect">
            <a:avLst>
              <a:gd name="adj" fmla="val 5304"/>
            </a:avLst>
          </a:prstGeom>
          <a:solidFill>
            <a:schemeClr val="bg1">
              <a:alpha val="60000"/>
            </a:schemeClr>
          </a:solidFill>
          <a:ln w="38100">
            <a:solidFill>
              <a:srgbClr val="FFA219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396997" y="1709754"/>
            <a:ext cx="2340000" cy="1620000"/>
          </a:xfrm>
          <a:prstGeom prst="roundRect">
            <a:avLst>
              <a:gd name="adj" fmla="val 7012"/>
            </a:avLst>
          </a:prstGeom>
          <a:solidFill>
            <a:schemeClr val="bg1">
              <a:alpha val="60000"/>
            </a:schemeClr>
          </a:solidFill>
          <a:ln w="38100">
            <a:solidFill>
              <a:schemeClr val="tx1">
                <a:lumMod val="50000"/>
              </a:schemeClr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5948208" y="1709754"/>
            <a:ext cx="2340000" cy="1620000"/>
          </a:xfrm>
          <a:prstGeom prst="roundRect">
            <a:avLst>
              <a:gd name="adj" fmla="val 4784"/>
            </a:avLst>
          </a:prstGeom>
          <a:solidFill>
            <a:schemeClr val="bg1">
              <a:alpha val="60000"/>
            </a:schemeClr>
          </a:solidFill>
          <a:ln w="38100">
            <a:solidFill>
              <a:srgbClr val="FF00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46"/>
          <p:cNvSpPr>
            <a:spLocks noChangeArrowheads="1"/>
          </p:cNvSpPr>
          <p:nvPr/>
        </p:nvSpPr>
        <p:spPr bwMode="auto">
          <a:xfrm>
            <a:off x="3004690" y="3729245"/>
            <a:ext cx="3107689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标题</a:t>
            </a:r>
            <a:endParaRPr lang="zh-CN" altLang="en-US" sz="16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AutoShape 3"/>
          <p:cNvSpPr>
            <a:spLocks noChangeArrowheads="1"/>
          </p:cNvSpPr>
          <p:nvPr/>
        </p:nvSpPr>
        <p:spPr bwMode="auto">
          <a:xfrm>
            <a:off x="3756997" y="1342709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tx1">
                <a:lumMod val="95000"/>
              </a:schemeClr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 bwMode="auto">
          <a:xfrm>
            <a:off x="3849600" y="1408919"/>
            <a:ext cx="1434795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分标题二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6308208" y="1342709"/>
            <a:ext cx="1620000" cy="504000"/>
          </a:xfrm>
          <a:prstGeom prst="roundRect">
            <a:avLst/>
          </a:prstGeom>
          <a:gradFill flip="none" rotWithShape="1">
            <a:gsLst>
              <a:gs pos="0">
                <a:srgbClr val="DE0000">
                  <a:shade val="30000"/>
                  <a:satMod val="115000"/>
                </a:srgbClr>
              </a:gs>
              <a:gs pos="50000">
                <a:srgbClr val="DE0000">
                  <a:shade val="67500"/>
                  <a:satMod val="115000"/>
                </a:srgbClr>
              </a:gs>
              <a:gs pos="100000">
                <a:srgbClr val="DE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6412719" y="1421556"/>
            <a:ext cx="1410979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分标题三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AutoShape 3"/>
          <p:cNvSpPr>
            <a:spLocks noChangeArrowheads="1"/>
          </p:cNvSpPr>
          <p:nvPr/>
        </p:nvSpPr>
        <p:spPr bwMode="auto">
          <a:xfrm>
            <a:off x="1205785" y="1342709"/>
            <a:ext cx="1620000" cy="504000"/>
          </a:xfrm>
          <a:prstGeom prst="roundRect">
            <a:avLst/>
          </a:prstGeom>
          <a:gradFill>
            <a:gsLst>
              <a:gs pos="0">
                <a:srgbClr val="FF6600"/>
              </a:gs>
              <a:gs pos="100000">
                <a:srgbClr val="FFA219"/>
              </a:gs>
            </a:gsLst>
            <a:lin ang="16200000" scaled="0"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 bwMode="auto">
          <a:xfrm>
            <a:off x="1325726" y="1408919"/>
            <a:ext cx="1380118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分标题一</a:t>
            </a:r>
            <a:endParaRPr lang="zh-CN" altLang="zh-CN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79475" y="2011079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79475" y="2576229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430588" y="2011079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3430588" y="2576229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5981700" y="2011079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5981700" y="2576229"/>
            <a:ext cx="22733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en-US" altLang="zh-CN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2" algn="ctr" defTabSz="913130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spc="50" dirty="0">
              <a:ln w="11430"/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9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500"/>
                            </p:stCondLst>
                            <p:childTnLst>
                              <p:par>
                                <p:cTn id="7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000"/>
                            </p:stCondLst>
                            <p:childTnLst>
                              <p:par>
                                <p:cTn id="7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000"/>
                            </p:stCondLst>
                            <p:childTnLst>
                              <p:par>
                                <p:cTn id="7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1869091" y="1137766"/>
            <a:ext cx="1508451" cy="1512065"/>
            <a:chOff x="3816954" y="1573213"/>
            <a:chExt cx="1508451" cy="1512065"/>
          </a:xfrm>
        </p:grpSpPr>
        <p:grpSp>
          <p:nvGrpSpPr>
            <p:cNvPr id="9" name="Group 11"/>
            <p:cNvGrpSpPr/>
            <p:nvPr/>
          </p:nvGrpSpPr>
          <p:grpSpPr bwMode="auto">
            <a:xfrm>
              <a:off x="3816954" y="1593051"/>
              <a:ext cx="1508451" cy="1492227"/>
              <a:chOff x="0" y="0"/>
              <a:chExt cx="1110" cy="1096"/>
            </a:xfrm>
          </p:grpSpPr>
          <p:sp>
            <p:nvSpPr>
              <p:cNvPr id="10" name="Oval 1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10" cy="1096"/>
              </a:xfrm>
              <a:prstGeom prst="ellipse">
                <a:avLst/>
              </a:prstGeom>
              <a:solidFill>
                <a:schemeClr val="accent1">
                  <a:alpha val="9999"/>
                </a:schemeClr>
              </a:soli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" name="Oval 16"/>
              <p:cNvSpPr>
                <a:spLocks noChangeArrowheads="1"/>
              </p:cNvSpPr>
              <p:nvPr/>
            </p:nvSpPr>
            <p:spPr bwMode="auto">
              <a:xfrm>
                <a:off x="25" y="25"/>
                <a:ext cx="1062" cy="1048"/>
              </a:xfrm>
              <a:prstGeom prst="ellipse">
                <a:avLst/>
              </a:prstGeom>
              <a:solidFill>
                <a:srgbClr val="3333CC">
                  <a:alpha val="9999"/>
                </a:srgbClr>
              </a:soli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" name="Group 28"/>
            <p:cNvGrpSpPr/>
            <p:nvPr/>
          </p:nvGrpSpPr>
          <p:grpSpPr bwMode="auto">
            <a:xfrm>
              <a:off x="3819524" y="1573213"/>
              <a:ext cx="1466850" cy="1447800"/>
              <a:chOff x="0" y="0"/>
              <a:chExt cx="751" cy="741"/>
            </a:xfrm>
          </p:grpSpPr>
          <p:sp>
            <p:nvSpPr>
              <p:cNvPr id="6" name="Oval 32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solidFill>
                <a:srgbClr val="DE0000"/>
              </a:solidFill>
              <a:ln w="38100" cap="flat" cmpd="sng">
                <a:solidFill>
                  <a:srgbClr val="F8F8F8">
                    <a:alpha val="75000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7" name="Picture 33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14" name="组合 13"/>
          <p:cNvGrpSpPr/>
          <p:nvPr/>
        </p:nvGrpSpPr>
        <p:grpSpPr>
          <a:xfrm>
            <a:off x="3805237" y="1148878"/>
            <a:ext cx="1509055" cy="1500953"/>
            <a:chOff x="2406650" y="3987800"/>
            <a:chExt cx="1509055" cy="1500953"/>
          </a:xfrm>
        </p:grpSpPr>
        <p:grpSp>
          <p:nvGrpSpPr>
            <p:cNvPr id="20" name="Group 18"/>
            <p:cNvGrpSpPr/>
            <p:nvPr/>
          </p:nvGrpSpPr>
          <p:grpSpPr bwMode="auto">
            <a:xfrm>
              <a:off x="2407254" y="3996526"/>
              <a:ext cx="1508451" cy="1492227"/>
              <a:chOff x="0" y="0"/>
              <a:chExt cx="1110" cy="1096"/>
            </a:xfrm>
          </p:grpSpPr>
          <p:sp>
            <p:nvSpPr>
              <p:cNvPr id="21" name="Oval 2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10" cy="1096"/>
              </a:xfrm>
              <a:prstGeom prst="ellipse">
                <a:avLst/>
              </a:prstGeom>
              <a:solidFill>
                <a:schemeClr val="accent2">
                  <a:alpha val="9999"/>
                </a:schemeClr>
              </a:soli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Oval 23"/>
              <p:cNvSpPr>
                <a:spLocks noChangeArrowheads="1"/>
              </p:cNvSpPr>
              <p:nvPr/>
            </p:nvSpPr>
            <p:spPr bwMode="auto">
              <a:xfrm>
                <a:off x="25" y="25"/>
                <a:ext cx="1062" cy="1048"/>
              </a:xfrm>
              <a:prstGeom prst="ellipse">
                <a:avLst/>
              </a:prstGeom>
              <a:solidFill>
                <a:schemeClr val="accent2">
                  <a:alpha val="9999"/>
                </a:schemeClr>
              </a:soli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6" name="Group 32"/>
            <p:cNvGrpSpPr/>
            <p:nvPr/>
          </p:nvGrpSpPr>
          <p:grpSpPr bwMode="auto">
            <a:xfrm>
              <a:off x="2406650" y="3987800"/>
              <a:ext cx="1466850" cy="1447800"/>
              <a:chOff x="0" y="0"/>
              <a:chExt cx="751" cy="741"/>
            </a:xfrm>
          </p:grpSpPr>
          <p:sp>
            <p:nvSpPr>
              <p:cNvPr id="17" name="Oval 36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solidFill>
                <a:srgbClr val="DE0000"/>
              </a:solidFill>
              <a:ln w="38100" cap="flat" cmpd="sng">
                <a:solidFill>
                  <a:srgbClr val="F8F8F8">
                    <a:alpha val="75000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8" name="Picture 37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25" name="组合 24"/>
          <p:cNvGrpSpPr/>
          <p:nvPr/>
        </p:nvGrpSpPr>
        <p:grpSpPr>
          <a:xfrm>
            <a:off x="5710841" y="1148878"/>
            <a:ext cx="1508451" cy="1500953"/>
            <a:chOff x="5137754" y="3987800"/>
            <a:chExt cx="1508451" cy="1500953"/>
          </a:xfrm>
        </p:grpSpPr>
        <p:grpSp>
          <p:nvGrpSpPr>
            <p:cNvPr id="34" name="Group 25"/>
            <p:cNvGrpSpPr/>
            <p:nvPr/>
          </p:nvGrpSpPr>
          <p:grpSpPr bwMode="auto">
            <a:xfrm>
              <a:off x="5137754" y="3996526"/>
              <a:ext cx="1508451" cy="1492227"/>
              <a:chOff x="0" y="0"/>
              <a:chExt cx="1110" cy="1096"/>
            </a:xfrm>
          </p:grpSpPr>
          <p:sp>
            <p:nvSpPr>
              <p:cNvPr id="35" name="Oval 2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10" cy="1096"/>
              </a:xfrm>
              <a:prstGeom prst="ellipse">
                <a:avLst/>
              </a:prstGeom>
              <a:solidFill>
                <a:srgbClr val="817E00">
                  <a:alpha val="9999"/>
                </a:srgbClr>
              </a:soli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" name="Oval 30"/>
              <p:cNvSpPr>
                <a:spLocks noChangeArrowheads="1"/>
              </p:cNvSpPr>
              <p:nvPr/>
            </p:nvSpPr>
            <p:spPr bwMode="auto">
              <a:xfrm>
                <a:off x="25" y="25"/>
                <a:ext cx="1062" cy="1048"/>
              </a:xfrm>
              <a:prstGeom prst="ellipse">
                <a:avLst/>
              </a:prstGeom>
              <a:solidFill>
                <a:srgbClr val="817E00">
                  <a:alpha val="9999"/>
                </a:srgbClr>
              </a:soli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" name="Group 36"/>
            <p:cNvGrpSpPr/>
            <p:nvPr/>
          </p:nvGrpSpPr>
          <p:grpSpPr bwMode="auto">
            <a:xfrm>
              <a:off x="5167313" y="3987800"/>
              <a:ext cx="1466850" cy="1447800"/>
              <a:chOff x="0" y="0"/>
              <a:chExt cx="751" cy="741"/>
            </a:xfrm>
          </p:grpSpPr>
          <p:sp>
            <p:nvSpPr>
              <p:cNvPr id="31" name="Oval 40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gradFill rotWithShape="1">
                <a:gsLst>
                  <a:gs pos="0">
                    <a:srgbClr val="0099CC"/>
                  </a:gs>
                  <a:gs pos="100000">
                    <a:srgbClr val="003141"/>
                  </a:gs>
                </a:gsLst>
                <a:lin ang="5400000" scaled="1"/>
              </a:gradFill>
              <a:ln w="38100" cap="flat" cmpd="sng">
                <a:solidFill>
                  <a:srgbClr val="F8F8F8">
                    <a:alpha val="75000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32" name="Picture 41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grpSp>
          <p:nvGrpSpPr>
            <p:cNvPr id="28" name="Group 39"/>
            <p:cNvGrpSpPr/>
            <p:nvPr/>
          </p:nvGrpSpPr>
          <p:grpSpPr bwMode="auto">
            <a:xfrm>
              <a:off x="5149850" y="3987800"/>
              <a:ext cx="1466850" cy="1447800"/>
              <a:chOff x="0" y="0"/>
              <a:chExt cx="751" cy="741"/>
            </a:xfrm>
          </p:grpSpPr>
          <p:sp>
            <p:nvSpPr>
              <p:cNvPr id="29" name="Oval 43"/>
              <p:cNvSpPr>
                <a:spLocks noChangeArrowheads="1"/>
              </p:cNvSpPr>
              <p:nvPr/>
            </p:nvSpPr>
            <p:spPr bwMode="auto">
              <a:xfrm>
                <a:off x="20" y="32"/>
                <a:ext cx="716" cy="709"/>
              </a:xfrm>
              <a:prstGeom prst="ellipse">
                <a:avLst/>
              </a:prstGeom>
              <a:solidFill>
                <a:srgbClr val="DE0000"/>
              </a:solidFill>
              <a:ln w="38100" cap="flat" cmpd="sng">
                <a:solidFill>
                  <a:srgbClr val="F8F8F8">
                    <a:alpha val="75000"/>
                  </a:srgbClr>
                </a:solidFill>
                <a:round/>
              </a:ln>
              <a:effectLst/>
            </p:spPr>
            <p:txBody>
              <a:bodyPr wrap="none" anchor="ctr"/>
              <a:lstStyle/>
              <a:p>
                <a:pPr algn="l"/>
                <a:endParaRPr lang="zh-CN" altLang="en-US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30" name="Picture 44" descr="cir_lighteffect0"/>
              <p:cNvPicPr>
                <a:picLocks noChangeAspect="1" noChangeArrowheads="1"/>
              </p:cNvPicPr>
              <p:nvPr/>
            </p:nvPicPr>
            <p:blipFill>
              <a:blip r:embed="rId1" cstate="print">
                <a:lum bright="18000" contrast="-12000"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751" cy="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sp>
        <p:nvSpPr>
          <p:cNvPr id="39" name="AutoShape 69"/>
          <p:cNvSpPr>
            <a:spLocks noChangeArrowheads="1"/>
          </p:cNvSpPr>
          <p:nvPr/>
        </p:nvSpPr>
        <p:spPr bwMode="gray">
          <a:xfrm rot="5400000">
            <a:off x="2485233" y="2691367"/>
            <a:ext cx="288000" cy="432000"/>
          </a:xfrm>
          <a:prstGeom prst="chevron">
            <a:avLst>
              <a:gd name="adj" fmla="val 52514"/>
            </a:avLst>
          </a:prstGeom>
          <a:solidFill>
            <a:srgbClr val="DE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AutoShape 69"/>
          <p:cNvSpPr>
            <a:spLocks noChangeArrowheads="1"/>
          </p:cNvSpPr>
          <p:nvPr/>
        </p:nvSpPr>
        <p:spPr bwMode="gray">
          <a:xfrm rot="5400000">
            <a:off x="4406312" y="2691367"/>
            <a:ext cx="288000" cy="432000"/>
          </a:xfrm>
          <a:prstGeom prst="chevron">
            <a:avLst>
              <a:gd name="adj" fmla="val 52514"/>
            </a:avLst>
          </a:prstGeom>
          <a:solidFill>
            <a:srgbClr val="DE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AutoShape 69"/>
          <p:cNvSpPr>
            <a:spLocks noChangeArrowheads="1"/>
          </p:cNvSpPr>
          <p:nvPr/>
        </p:nvSpPr>
        <p:spPr bwMode="gray">
          <a:xfrm rot="5400000">
            <a:off x="6342771" y="2691367"/>
            <a:ext cx="288000" cy="432000"/>
          </a:xfrm>
          <a:prstGeom prst="chevron">
            <a:avLst>
              <a:gd name="adj" fmla="val 52514"/>
            </a:avLst>
          </a:prstGeom>
          <a:solidFill>
            <a:srgbClr val="DE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2286000" y="1713344"/>
            <a:ext cx="646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198690" y="1713344"/>
            <a:ext cx="646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6135149" y="1713344"/>
            <a:ext cx="646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AutoShape 3"/>
          <p:cNvSpPr>
            <a:spLocks noChangeArrowheads="1"/>
          </p:cNvSpPr>
          <p:nvPr/>
        </p:nvSpPr>
        <p:spPr bwMode="auto">
          <a:xfrm>
            <a:off x="2057400" y="3372966"/>
            <a:ext cx="4953000" cy="1143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Text Box 11"/>
          <p:cNvSpPr txBox="1">
            <a:spLocks noChangeArrowheads="1"/>
          </p:cNvSpPr>
          <p:nvPr/>
        </p:nvSpPr>
        <p:spPr bwMode="auto">
          <a:xfrm>
            <a:off x="1905000" y="3725768"/>
            <a:ext cx="5257800" cy="40011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900" decel="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900" decel="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900" decel="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900" decel="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000"/>
                            </p:stCondLst>
                            <p:childTnLst>
                              <p:par>
                                <p:cTn id="6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/>
      <p:bldP spid="43" grpId="0"/>
      <p:bldP spid="44" grpId="0"/>
      <p:bldP spid="45" grpId="0" animBg="1"/>
      <p:bldP spid="4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755576" y="987574"/>
            <a:ext cx="7560000" cy="3600000"/>
          </a:xfrm>
          <a:prstGeom prst="roundRect">
            <a:avLst>
              <a:gd name="adj" fmla="val 4510"/>
            </a:avLst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35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270000" contourW="19050">
            <a:bevelT w="101600" prst="convex"/>
            <a:bevelB w="0" h="5080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6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1612391" y="1482202"/>
            <a:ext cx="3572082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zh-CN" sz="160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19"/>
          <p:cNvSpPr>
            <a:spLocks noChangeArrowheads="1"/>
          </p:cNvSpPr>
          <p:nvPr/>
        </p:nvSpPr>
        <p:spPr bwMode="auto">
          <a:xfrm>
            <a:off x="937601" y="1462241"/>
            <a:ext cx="635000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-108" charset="0"/>
                <a:ea typeface="微软雅黑" panose="020B0503020204020204" pitchFamily="34" charset="-122"/>
              </a:rPr>
              <a:t>北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latin typeface="Calibri" panose="020F0502020204030204" pitchFamily="-108" charset="0"/>
              <a:ea typeface="微软雅黑" panose="020B0503020204020204" pitchFamily="34" charset="-122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1612391" y="2073378"/>
            <a:ext cx="298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endParaRPr lang="zh-CN" altLang="zh-CN" sz="160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1612391" y="2664553"/>
            <a:ext cx="190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endParaRPr lang="zh-CN" altLang="zh-CN" sz="160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AutoShape 3"/>
          <p:cNvSpPr>
            <a:spLocks noChangeArrowheads="1"/>
          </p:cNvSpPr>
          <p:nvPr/>
        </p:nvSpPr>
        <p:spPr bwMode="auto">
          <a:xfrm>
            <a:off x="1612391" y="3255729"/>
            <a:ext cx="2340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endParaRPr lang="zh-CN" altLang="zh-CN" sz="160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 rot="5400000">
            <a:off x="4006238" y="2794154"/>
            <a:ext cx="3527425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1612391" y="3846904"/>
            <a:ext cx="828000" cy="288000"/>
          </a:xfrm>
          <a:prstGeom prst="roundRect">
            <a:avLst/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152400" contourW="19050">
            <a:bevelT w="101600" prst="convex"/>
            <a:bevelB w="0" h="381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endParaRPr lang="zh-CN" altLang="zh-CN" sz="160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9"/>
          <p:cNvSpPr>
            <a:spLocks noChangeArrowheads="1"/>
          </p:cNvSpPr>
          <p:nvPr/>
        </p:nvSpPr>
        <p:spPr bwMode="auto">
          <a:xfrm>
            <a:off x="937601" y="2052791"/>
            <a:ext cx="635000" cy="3063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solidFill>
                  <a:schemeClr val="tx2">
                    <a:lumMod val="25000"/>
                  </a:schemeClr>
                </a:solidFill>
                <a:latin typeface="Calibri" panose="020F0502020204030204" pitchFamily="-108" charset="0"/>
                <a:ea typeface="微软雅黑" panose="020B0503020204020204" pitchFamily="34" charset="-122"/>
              </a:rPr>
              <a:t>上海</a:t>
            </a:r>
            <a:endParaRPr lang="zh-CN" altLang="en-US" sz="1400">
              <a:solidFill>
                <a:schemeClr val="tx2">
                  <a:lumMod val="25000"/>
                </a:schemeClr>
              </a:solidFill>
              <a:latin typeface="Calibri" panose="020F0502020204030204" pitchFamily="-108" charset="0"/>
              <a:ea typeface="微软雅黑" panose="020B0503020204020204" pitchFamily="34" charset="-122"/>
            </a:endParaRPr>
          </a:p>
        </p:txBody>
      </p:sp>
      <p:sp>
        <p:nvSpPr>
          <p:cNvPr id="14" name="矩形 19"/>
          <p:cNvSpPr>
            <a:spLocks noChangeArrowheads="1"/>
          </p:cNvSpPr>
          <p:nvPr/>
        </p:nvSpPr>
        <p:spPr bwMode="auto">
          <a:xfrm>
            <a:off x="937601" y="2641754"/>
            <a:ext cx="635000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solidFill>
                  <a:schemeClr val="tx2">
                    <a:lumMod val="25000"/>
                  </a:schemeClr>
                </a:solidFill>
                <a:latin typeface="Calibri" panose="020F0502020204030204" pitchFamily="-108" charset="0"/>
                <a:ea typeface="微软雅黑" panose="020B0503020204020204" pitchFamily="34" charset="-122"/>
              </a:rPr>
              <a:t>广州</a:t>
            </a:r>
            <a:endParaRPr lang="zh-CN" altLang="en-US" sz="1400">
              <a:solidFill>
                <a:schemeClr val="tx2">
                  <a:lumMod val="25000"/>
                </a:schemeClr>
              </a:solidFill>
              <a:latin typeface="Calibri" panose="020F0502020204030204" pitchFamily="-108" charset="0"/>
              <a:ea typeface="微软雅黑" panose="020B0503020204020204" pitchFamily="34" charset="-122"/>
            </a:endParaRPr>
          </a:p>
        </p:txBody>
      </p:sp>
      <p:sp>
        <p:nvSpPr>
          <p:cNvPr id="15" name="矩形 19"/>
          <p:cNvSpPr>
            <a:spLocks noChangeArrowheads="1"/>
          </p:cNvSpPr>
          <p:nvPr/>
        </p:nvSpPr>
        <p:spPr bwMode="auto">
          <a:xfrm>
            <a:off x="937601" y="3230716"/>
            <a:ext cx="635000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solidFill>
                  <a:schemeClr val="tx2">
                    <a:lumMod val="25000"/>
                  </a:schemeClr>
                </a:solidFill>
                <a:latin typeface="Calibri" panose="020F0502020204030204" pitchFamily="-108" charset="0"/>
                <a:ea typeface="微软雅黑" panose="020B0503020204020204" pitchFamily="34" charset="-122"/>
              </a:rPr>
              <a:t>天津</a:t>
            </a:r>
            <a:endParaRPr lang="zh-CN" altLang="en-US" sz="1400">
              <a:solidFill>
                <a:schemeClr val="tx2">
                  <a:lumMod val="25000"/>
                </a:schemeClr>
              </a:solidFill>
              <a:latin typeface="Calibri" panose="020F0502020204030204" pitchFamily="-108" charset="0"/>
              <a:ea typeface="微软雅黑" panose="020B0503020204020204" pitchFamily="34" charset="-122"/>
            </a:endParaRPr>
          </a:p>
        </p:txBody>
      </p:sp>
      <p:sp>
        <p:nvSpPr>
          <p:cNvPr id="16" name="矩形 19"/>
          <p:cNvSpPr>
            <a:spLocks noChangeArrowheads="1"/>
          </p:cNvSpPr>
          <p:nvPr/>
        </p:nvSpPr>
        <p:spPr bwMode="auto">
          <a:xfrm>
            <a:off x="937601" y="3819679"/>
            <a:ext cx="635000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zh-CN" altLang="en-US" sz="1400">
                <a:solidFill>
                  <a:schemeClr val="tx2">
                    <a:lumMod val="25000"/>
                  </a:schemeClr>
                </a:solidFill>
                <a:latin typeface="Calibri" panose="020F0502020204030204" pitchFamily="-108" charset="0"/>
                <a:ea typeface="微软雅黑" panose="020B0503020204020204" pitchFamily="34" charset="-122"/>
              </a:rPr>
              <a:t>重庆</a:t>
            </a:r>
            <a:endParaRPr lang="zh-CN" altLang="en-US" sz="1400">
              <a:solidFill>
                <a:schemeClr val="tx2">
                  <a:lumMod val="25000"/>
                </a:schemeClr>
              </a:solidFill>
              <a:latin typeface="Calibri" panose="020F0502020204030204" pitchFamily="-108" charset="0"/>
              <a:ea typeface="微软雅黑" panose="020B0503020204020204" pitchFamily="34" charset="-122"/>
            </a:endParaRPr>
          </a:p>
        </p:txBody>
      </p:sp>
      <p:sp>
        <p:nvSpPr>
          <p:cNvPr id="17" name="矩形 19"/>
          <p:cNvSpPr>
            <a:spLocks noChangeArrowheads="1"/>
          </p:cNvSpPr>
          <p:nvPr/>
        </p:nvSpPr>
        <p:spPr bwMode="auto">
          <a:xfrm>
            <a:off x="6265251" y="1487641"/>
            <a:ext cx="1516063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18" name="矩形 19"/>
          <p:cNvSpPr>
            <a:spLocks noChangeArrowheads="1"/>
          </p:cNvSpPr>
          <p:nvPr/>
        </p:nvSpPr>
        <p:spPr bwMode="auto">
          <a:xfrm>
            <a:off x="6265251" y="2087716"/>
            <a:ext cx="1516063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19" name="矩形 19"/>
          <p:cNvSpPr>
            <a:spLocks noChangeArrowheads="1"/>
          </p:cNvSpPr>
          <p:nvPr/>
        </p:nvSpPr>
        <p:spPr bwMode="auto">
          <a:xfrm>
            <a:off x="6265251" y="2689379"/>
            <a:ext cx="1516063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>
            <a:spLocks noChangeArrowheads="1"/>
          </p:cNvSpPr>
          <p:nvPr/>
        </p:nvSpPr>
        <p:spPr bwMode="auto">
          <a:xfrm>
            <a:off x="6265251" y="3291041"/>
            <a:ext cx="1516063" cy="30638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1" name="矩形 19"/>
          <p:cNvSpPr>
            <a:spLocks noChangeArrowheads="1"/>
          </p:cNvSpPr>
          <p:nvPr/>
        </p:nvSpPr>
        <p:spPr bwMode="auto">
          <a:xfrm>
            <a:off x="6265251" y="3891116"/>
            <a:ext cx="1516063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spc="50" dirty="0">
                <a:ln w="11430"/>
                <a:solidFill>
                  <a:schemeClr val="tx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5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8500"/>
                            </p:stCondLst>
                            <p:childTnLst>
                              <p:par>
                                <p:cTn id="5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000"/>
                            </p:stCondLst>
                            <p:childTnLst>
                              <p:par>
                                <p:cTn id="5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9500"/>
                            </p:stCondLst>
                            <p:childTnLst>
                              <p:par>
                                <p:cTn id="6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0"/>
                            </p:stCondLst>
                            <p:childTnLst>
                              <p:par>
                                <p:cTn id="6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500"/>
                            </p:stCondLst>
                            <p:childTnLst>
                              <p:par>
                                <p:cTn id="7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/>
      <p:bldP spid="7" grpId="0" animBg="1"/>
      <p:bldP spid="8" grpId="0" animBg="1"/>
      <p:bldP spid="9" grpId="0" animBg="1"/>
      <p:bldP spid="12" grpId="0" animBg="1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/>
          <p:cNvSpPr>
            <a:spLocks noChangeArrowheads="1"/>
          </p:cNvSpPr>
          <p:nvPr/>
        </p:nvSpPr>
        <p:spPr bwMode="auto">
          <a:xfrm>
            <a:off x="5207000" y="1479129"/>
            <a:ext cx="2849563" cy="2752725"/>
          </a:xfrm>
          <a:prstGeom prst="roundRect">
            <a:avLst>
              <a:gd name="adj" fmla="val 2438"/>
            </a:avLst>
          </a:prstGeom>
          <a:solidFill>
            <a:srgbClr val="FF66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auto">
          <a:xfrm>
            <a:off x="5270500" y="1544216"/>
            <a:ext cx="2703513" cy="2611438"/>
          </a:xfrm>
          <a:prstGeom prst="roundRect">
            <a:avLst>
              <a:gd name="adj" fmla="val 7912"/>
            </a:avLst>
          </a:prstGeom>
          <a:noFill/>
          <a:ln w="9525">
            <a:noFill/>
            <a:round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auto">
          <a:xfrm>
            <a:off x="1028700" y="915566"/>
            <a:ext cx="2857500" cy="466725"/>
          </a:xfrm>
          <a:prstGeom prst="roundRect">
            <a:avLst>
              <a:gd name="adj" fmla="val 17974"/>
            </a:avLst>
          </a:prstGeom>
          <a:solidFill>
            <a:srgbClr val="DE00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5181600" y="915566"/>
            <a:ext cx="2857502" cy="466725"/>
          </a:xfrm>
          <a:prstGeom prst="roundRect">
            <a:avLst>
              <a:gd name="adj" fmla="val 16176"/>
            </a:avLst>
          </a:prstGeom>
          <a:solidFill>
            <a:srgbClr val="FF66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AutoShape 12"/>
          <p:cNvSpPr>
            <a:spLocks noChangeArrowheads="1"/>
          </p:cNvSpPr>
          <p:nvPr/>
        </p:nvSpPr>
        <p:spPr bwMode="auto">
          <a:xfrm>
            <a:off x="1028700" y="1479129"/>
            <a:ext cx="2849562" cy="2713037"/>
          </a:xfrm>
          <a:prstGeom prst="roundRect">
            <a:avLst>
              <a:gd name="adj" fmla="val 2164"/>
            </a:avLst>
          </a:prstGeom>
          <a:solidFill>
            <a:srgbClr val="DE00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 Box 18"/>
          <p:cNvSpPr txBox="1">
            <a:spLocks noChangeArrowheads="1"/>
          </p:cNvSpPr>
          <p:nvPr/>
        </p:nvSpPr>
        <p:spPr bwMode="auto">
          <a:xfrm>
            <a:off x="1295400" y="994941"/>
            <a:ext cx="2238375" cy="33855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5502275" y="994941"/>
            <a:ext cx="2238375" cy="33855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AutoShape 15"/>
          <p:cNvSpPr>
            <a:spLocks noChangeArrowheads="1"/>
          </p:cNvSpPr>
          <p:nvPr/>
        </p:nvSpPr>
        <p:spPr bwMode="auto">
          <a:xfrm rot="10806395" flipH="1" flipV="1">
            <a:off x="4039302" y="1868015"/>
            <a:ext cx="1068458" cy="755650"/>
          </a:xfrm>
          <a:prstGeom prst="rightArrow">
            <a:avLst>
              <a:gd name="adj1" fmla="val 46509"/>
              <a:gd name="adj2" fmla="val 37621"/>
            </a:avLst>
          </a:prstGeom>
          <a:gradFill flip="none" rotWithShape="1">
            <a:gsLst>
              <a:gs pos="0">
                <a:srgbClr val="FF0000"/>
              </a:gs>
              <a:gs pos="10000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380880" y="1764978"/>
            <a:ext cx="2514600" cy="4616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 eaLnBrk="0" hangingPunct="0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点击输入文本信息点击输入文本信息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AutoShape 26"/>
          <p:cNvSpPr>
            <a:spLocks noChangeArrowheads="1"/>
          </p:cNvSpPr>
          <p:nvPr/>
        </p:nvSpPr>
        <p:spPr bwMode="auto">
          <a:xfrm>
            <a:off x="1104900" y="1774404"/>
            <a:ext cx="2698750" cy="287338"/>
          </a:xfrm>
          <a:prstGeom prst="roundRect">
            <a:avLst>
              <a:gd name="adj" fmla="val 23356"/>
            </a:avLst>
          </a:prstGeom>
          <a:solidFill>
            <a:srgbClr val="FFFFFF">
              <a:alpha val="34902"/>
            </a:srgbClr>
          </a:solidFill>
          <a:ln w="9525">
            <a:noFill/>
            <a:round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AutoShape 27"/>
          <p:cNvSpPr>
            <a:spLocks noChangeArrowheads="1"/>
          </p:cNvSpPr>
          <p:nvPr/>
        </p:nvSpPr>
        <p:spPr bwMode="auto">
          <a:xfrm>
            <a:off x="1104900" y="2179215"/>
            <a:ext cx="2698750" cy="282575"/>
          </a:xfrm>
          <a:prstGeom prst="roundRect">
            <a:avLst>
              <a:gd name="adj" fmla="val 20781"/>
            </a:avLst>
          </a:prstGeom>
          <a:solidFill>
            <a:srgbClr val="FFFFFF">
              <a:alpha val="34902"/>
            </a:srgbClr>
          </a:solidFill>
          <a:ln w="9525">
            <a:noFill/>
            <a:round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AutoShape 28"/>
          <p:cNvSpPr>
            <a:spLocks noChangeArrowheads="1"/>
          </p:cNvSpPr>
          <p:nvPr/>
        </p:nvSpPr>
        <p:spPr bwMode="auto">
          <a:xfrm>
            <a:off x="1104900" y="2577207"/>
            <a:ext cx="2698750" cy="282575"/>
          </a:xfrm>
          <a:prstGeom prst="roundRect">
            <a:avLst>
              <a:gd name="adj" fmla="val 17813"/>
            </a:avLst>
          </a:prstGeom>
          <a:solidFill>
            <a:srgbClr val="FFFFFF">
              <a:alpha val="34902"/>
            </a:srgbClr>
          </a:solidFill>
          <a:ln w="9525">
            <a:noFill/>
            <a:round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Rectangle 29"/>
          <p:cNvSpPr>
            <a:spLocks noChangeArrowheads="1"/>
          </p:cNvSpPr>
          <p:nvPr/>
        </p:nvSpPr>
        <p:spPr bwMode="auto">
          <a:xfrm>
            <a:off x="1136650" y="1779166"/>
            <a:ext cx="2592387" cy="2862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Rectangle 30"/>
          <p:cNvSpPr>
            <a:spLocks noChangeArrowheads="1"/>
          </p:cNvSpPr>
          <p:nvPr/>
        </p:nvSpPr>
        <p:spPr bwMode="auto">
          <a:xfrm>
            <a:off x="1136650" y="2179215"/>
            <a:ext cx="2592387" cy="2862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Rectangle 31"/>
          <p:cNvSpPr>
            <a:spLocks noChangeArrowheads="1"/>
          </p:cNvSpPr>
          <p:nvPr/>
        </p:nvSpPr>
        <p:spPr bwMode="auto">
          <a:xfrm>
            <a:off x="1136650" y="2571750"/>
            <a:ext cx="2592387" cy="28623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信息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AutoShape 32"/>
          <p:cNvSpPr>
            <a:spLocks noChangeArrowheads="1"/>
          </p:cNvSpPr>
          <p:nvPr/>
        </p:nvSpPr>
        <p:spPr bwMode="auto">
          <a:xfrm rot="10793605" flipV="1">
            <a:off x="4009259" y="2749768"/>
            <a:ext cx="1019239" cy="755650"/>
          </a:xfrm>
          <a:prstGeom prst="rightArrow">
            <a:avLst>
              <a:gd name="adj1" fmla="val 46509"/>
              <a:gd name="adj2" fmla="val 37713"/>
            </a:avLst>
          </a:prstGeom>
          <a:gradFill>
            <a:gsLst>
              <a:gs pos="0">
                <a:srgbClr val="FF6600"/>
              </a:gs>
              <a:gs pos="100000">
                <a:schemeClr val="bg1"/>
              </a:gs>
            </a:gsLst>
            <a:lin ang="10800000" scaled="0"/>
          </a:gradFill>
          <a:ln w="9525">
            <a:noFill/>
            <a:miter lim="800000"/>
          </a:ln>
          <a:effectLst/>
        </p:spPr>
        <p:txBody>
          <a:bodyPr wrap="none" anchor="ctr"/>
          <a:lstStyle/>
          <a:p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Text Box 33"/>
          <p:cNvSpPr txBox="1">
            <a:spLocks noChangeArrowheads="1"/>
          </p:cNvSpPr>
          <p:nvPr/>
        </p:nvSpPr>
        <p:spPr bwMode="auto">
          <a:xfrm>
            <a:off x="5380880" y="2393826"/>
            <a:ext cx="2514600" cy="4616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spAutoFit/>
          </a:bodyPr>
          <a:lstStyle/>
          <a:p>
            <a:pPr algn="l" eaLnBrk="0" hangingPunct="0"/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点击输入文本信息点击输入文本信息点击输入文本信息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6000"/>
                            </p:stCondLst>
                            <p:childTnLst>
                              <p:par>
                                <p:cTn id="5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500"/>
                            </p:stCondLst>
                            <p:childTnLst>
                              <p:par>
                                <p:cTn id="58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000"/>
                            </p:stCondLst>
                            <p:childTnLst>
                              <p:par>
                                <p:cTn id="62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6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500"/>
                            </p:stCondLst>
                            <p:childTnLst>
                              <p:par>
                                <p:cTn id="66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6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8500"/>
                            </p:stCondLst>
                            <p:childTnLst>
                              <p:par>
                                <p:cTn id="74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  <p:bldP spid="10" grpId="0" animBg="1"/>
      <p:bldP spid="13" grpId="0" animBg="1"/>
      <p:bldP spid="14" grpId="0"/>
      <p:bldP spid="15" grpId="0"/>
      <p:bldP spid="16" grpId="0" animBg="1"/>
      <p:bldP spid="17" grpId="0"/>
      <p:bldP spid="29" grpId="0" animBg="1"/>
      <p:bldP spid="30" grpId="0" animBg="1"/>
      <p:bldP spid="31" grpId="0" animBg="1"/>
      <p:bldP spid="32" grpId="0"/>
      <p:bldP spid="33" grpId="0"/>
      <p:bldP spid="34" grpId="0"/>
      <p:bldP spid="35" grpId="0" animBg="1"/>
      <p:bldP spid="3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五边形 2"/>
          <p:cNvSpPr/>
          <p:nvPr/>
        </p:nvSpPr>
        <p:spPr>
          <a:xfrm rot="5400000">
            <a:off x="3826403" y="-1758261"/>
            <a:ext cx="1653169" cy="7000824"/>
          </a:xfrm>
          <a:prstGeom prst="homePlate">
            <a:avLst>
              <a:gd name="adj" fmla="val 30956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auto">
          <a:xfrm>
            <a:off x="1330834" y="995217"/>
            <a:ext cx="1735605" cy="81868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shade val="30000"/>
                  <a:satMod val="115000"/>
                </a:schemeClr>
              </a:gs>
              <a:gs pos="50000">
                <a:schemeClr val="tx1">
                  <a:lumMod val="75000"/>
                  <a:shade val="67500"/>
                  <a:satMod val="115000"/>
                </a:schemeClr>
              </a:gs>
              <a:gs pos="100000">
                <a:schemeClr val="tx1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tx1">
                <a:lumMod val="75000"/>
              </a:schemeClr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3269756" y="995217"/>
            <a:ext cx="2783518" cy="818682"/>
          </a:xfrm>
          <a:prstGeom prst="rect">
            <a:avLst/>
          </a:prstGeom>
          <a:gradFill flip="none" rotWithShape="1">
            <a:gsLst>
              <a:gs pos="0">
                <a:srgbClr val="FF6600"/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chemeClr val="tx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6245790" y="995217"/>
            <a:ext cx="1735605" cy="818682"/>
          </a:xfrm>
          <a:prstGeom prst="rect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25400">
            <a:solidFill>
              <a:srgbClr val="FF00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zh-CN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 bwMode="auto">
          <a:xfrm>
            <a:off x="1403844" y="2635674"/>
            <a:ext cx="6501174" cy="1533595"/>
          </a:xfrm>
          <a:prstGeom prst="roundRect">
            <a:avLst>
              <a:gd name="adj" fmla="val 7635"/>
            </a:avLst>
          </a:prstGeom>
          <a:gradFill flip="none" rotWithShape="1">
            <a:gsLst>
              <a:gs pos="50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rgbClr val="F200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27000"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61"/>
          <p:cNvSpPr txBox="1">
            <a:spLocks noChangeArrowheads="1"/>
          </p:cNvSpPr>
          <p:nvPr/>
        </p:nvSpPr>
        <p:spPr bwMode="auto">
          <a:xfrm>
            <a:off x="2465231" y="2822047"/>
            <a:ext cx="4378401" cy="102374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150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信息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0" hangingPunct="0">
              <a:lnSpc>
                <a:spcPct val="150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信息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0" hangingPunct="0">
              <a:lnSpc>
                <a:spcPct val="150000"/>
              </a:lnSpc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这里输入文本信息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圆角矩形 3"/>
          <p:cNvSpPr/>
          <p:nvPr/>
        </p:nvSpPr>
        <p:spPr bwMode="auto">
          <a:xfrm>
            <a:off x="1046275" y="1447950"/>
            <a:ext cx="2235976" cy="1644100"/>
          </a:xfrm>
          <a:prstGeom prst="roundRect">
            <a:avLst>
              <a:gd name="adj" fmla="val 8983"/>
            </a:avLst>
          </a:prstGeom>
          <a:solidFill>
            <a:schemeClr val="bg1">
              <a:alpha val="60000"/>
            </a:schemeClr>
          </a:solidFill>
          <a:ln w="381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圆角矩形 4"/>
          <p:cNvSpPr/>
          <p:nvPr/>
        </p:nvSpPr>
        <p:spPr bwMode="auto">
          <a:xfrm>
            <a:off x="5771843" y="1447950"/>
            <a:ext cx="2235976" cy="1644100"/>
          </a:xfrm>
          <a:prstGeom prst="roundRect">
            <a:avLst>
              <a:gd name="adj" fmla="val 7225"/>
            </a:avLst>
          </a:prstGeom>
          <a:solidFill>
            <a:schemeClr val="bg1">
              <a:alpha val="60000"/>
            </a:schemeClr>
          </a:solidFill>
          <a:ln w="381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26"/>
          <p:cNvSpPr>
            <a:spLocks noChangeArrowheads="1"/>
          </p:cNvSpPr>
          <p:nvPr/>
        </p:nvSpPr>
        <p:spPr bwMode="auto">
          <a:xfrm>
            <a:off x="6084168" y="1715968"/>
            <a:ext cx="2014058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 bwMode="auto">
          <a:xfrm>
            <a:off x="3409059" y="1447950"/>
            <a:ext cx="2235976" cy="1644100"/>
          </a:xfrm>
          <a:prstGeom prst="roundRect">
            <a:avLst>
              <a:gd name="adj" fmla="val 8033"/>
            </a:avLst>
          </a:prstGeom>
          <a:solidFill>
            <a:schemeClr val="bg1">
              <a:alpha val="60000"/>
            </a:schemeClr>
          </a:solidFill>
          <a:ln w="381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25"/>
          <p:cNvSpPr>
            <a:spLocks noChangeArrowheads="1"/>
          </p:cNvSpPr>
          <p:nvPr/>
        </p:nvSpPr>
        <p:spPr bwMode="auto">
          <a:xfrm>
            <a:off x="3772886" y="1715968"/>
            <a:ext cx="2095258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32"/>
          <p:cNvSpPr txBox="1">
            <a:spLocks noChangeArrowheads="1"/>
          </p:cNvSpPr>
          <p:nvPr/>
        </p:nvSpPr>
        <p:spPr bwMode="auto">
          <a:xfrm>
            <a:off x="1369467" y="1746418"/>
            <a:ext cx="1995207" cy="83099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en-US" altLang="zh-CN" sz="1200" dirty="0" smtClean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燕尾形 9"/>
          <p:cNvSpPr/>
          <p:nvPr/>
        </p:nvSpPr>
        <p:spPr>
          <a:xfrm rot="16200000" flipH="1" flipV="1">
            <a:off x="1966973" y="3258157"/>
            <a:ext cx="394584" cy="526112"/>
          </a:xfrm>
          <a:prstGeom prst="chevron">
            <a:avLst>
              <a:gd name="adj" fmla="val 39402"/>
            </a:avLst>
          </a:prstGeom>
          <a:solidFill>
            <a:schemeClr val="tx1">
              <a:lumMod val="50000"/>
            </a:schemeClr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20"/>
          <p:cNvSpPr>
            <a:spLocks noChangeArrowheads="1"/>
          </p:cNvSpPr>
          <p:nvPr/>
        </p:nvSpPr>
        <p:spPr bwMode="auto">
          <a:xfrm>
            <a:off x="1010026" y="3872126"/>
            <a:ext cx="7089075" cy="494451"/>
          </a:xfrm>
          <a:prstGeom prst="roundRect">
            <a:avLst>
              <a:gd name="adj" fmla="val 21104"/>
            </a:avLst>
          </a:prstGeom>
          <a:solidFill>
            <a:srgbClr val="DE0000"/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1587395" y="3959370"/>
            <a:ext cx="5934337" cy="369332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tabLst>
                <a:tab pos="8521700" algn="r"/>
              </a:tabLst>
              <a:defRPr/>
            </a:pPr>
            <a:r>
              <a:rPr lang="zh-CN" altLang="en-US" dirty="0" smtClean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这里请输入文本信息</a:t>
            </a:r>
            <a:endParaRPr lang="zh-CN" altLang="en-US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燕尾形 12"/>
          <p:cNvSpPr/>
          <p:nvPr/>
        </p:nvSpPr>
        <p:spPr>
          <a:xfrm rot="16200000" flipH="1" flipV="1">
            <a:off x="4329755" y="3258157"/>
            <a:ext cx="394584" cy="526112"/>
          </a:xfrm>
          <a:prstGeom prst="chevron">
            <a:avLst>
              <a:gd name="adj" fmla="val 39402"/>
            </a:avLst>
          </a:prstGeom>
          <a:solidFill>
            <a:srgbClr val="FF6600"/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燕尾形 13"/>
          <p:cNvSpPr/>
          <p:nvPr/>
        </p:nvSpPr>
        <p:spPr>
          <a:xfrm rot="16200000" flipH="1" flipV="1">
            <a:off x="6692539" y="3258157"/>
            <a:ext cx="394584" cy="526112"/>
          </a:xfrm>
          <a:prstGeom prst="chevron">
            <a:avLst>
              <a:gd name="adj" fmla="val 39402"/>
            </a:avLst>
          </a:prstGeom>
          <a:solidFill>
            <a:srgbClr val="F20000"/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3622792" y="915566"/>
            <a:ext cx="1808510" cy="427466"/>
          </a:xfrm>
          <a:prstGeom prst="roundRect">
            <a:avLst>
              <a:gd name="adj" fmla="val 20290"/>
            </a:avLst>
          </a:prstGeom>
          <a:solidFill>
            <a:srgbClr val="FF6600"/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5985576" y="915566"/>
            <a:ext cx="1808510" cy="427466"/>
          </a:xfrm>
          <a:prstGeom prst="roundRect">
            <a:avLst>
              <a:gd name="adj" fmla="val 23261"/>
            </a:avLst>
          </a:prstGeom>
          <a:solidFill>
            <a:srgbClr val="FF0000"/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1260008" y="915566"/>
            <a:ext cx="1808510" cy="427466"/>
          </a:xfrm>
          <a:prstGeom prst="roundRect">
            <a:avLst>
              <a:gd name="adj" fmla="val 20290"/>
            </a:avLst>
          </a:prstGeom>
          <a:solidFill>
            <a:schemeClr val="bg1">
              <a:lumMod val="50000"/>
            </a:schemeClr>
          </a:solidFill>
          <a:ln w="254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>
            <a:spLocks noChangeArrowheads="1"/>
          </p:cNvSpPr>
          <p:nvPr/>
        </p:nvSpPr>
        <p:spPr bwMode="auto">
          <a:xfrm>
            <a:off x="1361301" y="948402"/>
            <a:ext cx="1605924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>
            <a:spLocks noChangeArrowheads="1"/>
          </p:cNvSpPr>
          <p:nvPr/>
        </p:nvSpPr>
        <p:spPr bwMode="auto">
          <a:xfrm>
            <a:off x="6086869" y="948402"/>
            <a:ext cx="1605924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>
            <a:spLocks noChangeArrowheads="1"/>
          </p:cNvSpPr>
          <p:nvPr/>
        </p:nvSpPr>
        <p:spPr bwMode="auto">
          <a:xfrm>
            <a:off x="3724085" y="948402"/>
            <a:ext cx="1605924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500"/>
                            </p:stCondLst>
                            <p:childTnLst>
                              <p:par>
                                <p:cTn id="4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000"/>
                            </p:stCondLst>
                            <p:childTnLst>
                              <p:par>
                                <p:cTn id="5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7500"/>
                            </p:stCondLst>
                            <p:childTnLst>
                              <p:par>
                                <p:cTn id="7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8000"/>
                            </p:stCondLst>
                            <p:childTnLst>
                              <p:par>
                                <p:cTn id="7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500"/>
                            </p:stCondLst>
                            <p:childTnLst>
                              <p:par>
                                <p:cTn id="7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000"/>
                            </p:stCondLst>
                            <p:childTnLst>
                              <p:par>
                                <p:cTn id="8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/>
      <p:bldP spid="7" grpId="0" animBg="1"/>
      <p:bldP spid="8" grpId="0"/>
      <p:bldP spid="9" grpId="0"/>
      <p:bldP spid="10" grpId="0" animBg="1"/>
      <p:bldP spid="11" grpId="0" animBg="1"/>
      <p:bldP spid="12" grpId="0"/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/>
      <p:bldP spid="2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60"/>
          <p:cNvSpPr>
            <a:spLocks noChangeArrowheads="1"/>
          </p:cNvSpPr>
          <p:nvPr/>
        </p:nvSpPr>
        <p:spPr bwMode="auto">
          <a:xfrm>
            <a:off x="1357290" y="1514438"/>
            <a:ext cx="4967310" cy="2160000"/>
          </a:xfrm>
          <a:prstGeom prst="rightArrow">
            <a:avLst>
              <a:gd name="adj1" fmla="val 68556"/>
              <a:gd name="adj2" fmla="val 38969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endParaRPr lang="zh-CN" altLang="en-US" sz="14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 bwMode="auto">
          <a:xfrm>
            <a:off x="1860550" y="2999383"/>
            <a:ext cx="3168650" cy="1368425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rgbClr val="FF6600"/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accent2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87"/>
          <p:cNvSpPr>
            <a:spLocks noChangeArrowheads="1"/>
          </p:cNvSpPr>
          <p:nvPr/>
        </p:nvSpPr>
        <p:spPr bwMode="auto">
          <a:xfrm>
            <a:off x="1974626" y="3588018"/>
            <a:ext cx="2940498" cy="52443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 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 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 bwMode="auto">
          <a:xfrm>
            <a:off x="1860550" y="843558"/>
            <a:ext cx="3168650" cy="1366837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chemeClr val="tx1">
                <a:lumMod val="65000"/>
              </a:schemeClr>
            </a:soli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87"/>
          <p:cNvSpPr>
            <a:spLocks noChangeArrowheads="1"/>
          </p:cNvSpPr>
          <p:nvPr/>
        </p:nvSpPr>
        <p:spPr bwMode="auto">
          <a:xfrm>
            <a:off x="1890149" y="1090846"/>
            <a:ext cx="3109452" cy="52322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 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eaLnBrk="0" fontAlgn="ctr" hangingPunct="0">
              <a:buClr>
                <a:srgbClr val="FF0000"/>
              </a:buClr>
              <a:buSzPct val="70000"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 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26"/>
          <p:cNvGrpSpPr>
            <a:grpSpLocks noChangeAspect="1"/>
          </p:cNvGrpSpPr>
          <p:nvPr/>
        </p:nvGrpSpPr>
        <p:grpSpPr bwMode="auto">
          <a:xfrm>
            <a:off x="2224087" y="1953220"/>
            <a:ext cx="2443163" cy="554038"/>
            <a:chOff x="855540" y="3513439"/>
            <a:chExt cx="1399872" cy="98772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" name="圆角矩形 8"/>
            <p:cNvSpPr/>
            <p:nvPr/>
          </p:nvSpPr>
          <p:spPr>
            <a:xfrm>
              <a:off x="855540" y="3513439"/>
              <a:ext cx="1399872" cy="987727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chemeClr val="tx1">
                    <a:lumMod val="75000"/>
                    <a:shade val="30000"/>
                    <a:satMod val="115000"/>
                  </a:schemeClr>
                </a:gs>
                <a:gs pos="50000">
                  <a:schemeClr val="tx1">
                    <a:lumMod val="75000"/>
                    <a:shade val="67500"/>
                    <a:satMod val="115000"/>
                  </a:schemeClr>
                </a:gs>
                <a:gs pos="100000">
                  <a:schemeClr val="tx1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2540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矩形 14"/>
            <p:cNvSpPr>
              <a:spLocks noChangeArrowheads="1"/>
            </p:cNvSpPr>
            <p:nvPr/>
          </p:nvSpPr>
          <p:spPr bwMode="auto">
            <a:xfrm>
              <a:off x="1004859" y="3705518"/>
              <a:ext cx="1101235" cy="603568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anchor="ctr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1"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26"/>
          <p:cNvGrpSpPr>
            <a:grpSpLocks noChangeAspect="1"/>
          </p:cNvGrpSpPr>
          <p:nvPr/>
        </p:nvGrpSpPr>
        <p:grpSpPr bwMode="auto">
          <a:xfrm>
            <a:off x="2224087" y="2710458"/>
            <a:ext cx="2443163" cy="555625"/>
            <a:chOff x="855540" y="3513439"/>
            <a:chExt cx="1399872" cy="98772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2" name="圆角矩形 11"/>
            <p:cNvSpPr/>
            <p:nvPr/>
          </p:nvSpPr>
          <p:spPr>
            <a:xfrm>
              <a:off x="855540" y="3513439"/>
              <a:ext cx="1399872" cy="987727"/>
            </a:xfrm>
            <a:prstGeom prst="roundRect">
              <a:avLst>
                <a:gd name="adj" fmla="val 10568"/>
              </a:avLst>
            </a:prstGeom>
            <a:gradFill>
              <a:gsLst>
                <a:gs pos="0">
                  <a:srgbClr val="FFA219"/>
                </a:gs>
                <a:gs pos="100000">
                  <a:srgbClr val="FF6600"/>
                </a:gs>
              </a:gsLst>
              <a:lin ang="5400000" scaled="0"/>
            </a:gradFill>
            <a:ln w="2540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600" b="1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矩形 12"/>
            <p:cNvSpPr>
              <a:spLocks noChangeArrowheads="1"/>
            </p:cNvSpPr>
            <p:nvPr/>
          </p:nvSpPr>
          <p:spPr bwMode="auto">
            <a:xfrm>
              <a:off x="930021" y="3706380"/>
              <a:ext cx="1250910" cy="601843"/>
            </a:xfrm>
            <a:prstGeom prst="rect">
              <a:avLst/>
            </a:prstGeom>
            <a:noFill/>
            <a:ln w="9525">
              <a:noFill/>
              <a:miter lim="800000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anchor="ctr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kumimoji="1" lang="zh-CN" altLang="en-US" sz="1600" dirty="0"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1"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43"/>
          <p:cNvGrpSpPr/>
          <p:nvPr/>
        </p:nvGrpSpPr>
        <p:grpSpPr bwMode="auto">
          <a:xfrm>
            <a:off x="5970348" y="1603970"/>
            <a:ext cx="1979612" cy="1981200"/>
            <a:chOff x="5217600" y="3058600"/>
            <a:chExt cx="1116000" cy="1116000"/>
          </a:xfrm>
        </p:grpSpPr>
        <p:sp>
          <p:nvSpPr>
            <p:cNvPr id="15" name="Oval 2"/>
            <p:cNvSpPr>
              <a:spLocks noChangeAspect="1" noChangeArrowheads="1"/>
            </p:cNvSpPr>
            <p:nvPr/>
          </p:nvSpPr>
          <p:spPr bwMode="auto">
            <a:xfrm>
              <a:off x="5217600" y="3058600"/>
              <a:ext cx="1116000" cy="1116000"/>
            </a:xfrm>
            <a:prstGeom prst="ellipse">
              <a:avLst/>
            </a:prstGeom>
            <a:solidFill>
              <a:srgbClr val="F2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椭圆 15"/>
            <p:cNvSpPr/>
            <p:nvPr/>
          </p:nvSpPr>
          <p:spPr>
            <a:xfrm rot="19388639">
              <a:off x="5222074" y="3126562"/>
              <a:ext cx="756231" cy="540115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solidFill>
                  <a:srgbClr val="FFFFFF"/>
                </a:solidFill>
                <a:effectLst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Text Box 29"/>
          <p:cNvSpPr txBox="1">
            <a:spLocks noChangeArrowheads="1"/>
          </p:cNvSpPr>
          <p:nvPr/>
        </p:nvSpPr>
        <p:spPr bwMode="gray">
          <a:xfrm>
            <a:off x="6194324" y="2211710"/>
            <a:ext cx="1531794" cy="830997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20000"/>
              <a:defRPr/>
            </a:pPr>
            <a:r>
              <a:rPr lang="zh-CN" altLang="en-US" sz="2400" b="1" spc="300" smtClean="0">
                <a:ln w="12700" cmpd="sng">
                  <a:noFill/>
                  <a:prstDash val="solid"/>
                  <a:miter lim="800000"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单击</a:t>
            </a:r>
            <a:r>
              <a:rPr lang="zh-CN" altLang="en-US" sz="2400" b="1" spc="300" dirty="0">
                <a:ln w="12700" cmpd="sng">
                  <a:noFill/>
                  <a:prstDash val="solid"/>
                  <a:miter lim="800000"/>
                </a:ln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文本</a:t>
            </a:r>
            <a:endParaRPr lang="zh-CN" altLang="en-US" sz="2400" b="1" spc="300" dirty="0">
              <a:ln w="12700" cmpd="sng">
                <a:noFill/>
                <a:prstDash val="solid"/>
                <a:miter lim="800000"/>
              </a:ln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6" grpId="0" animBg="1"/>
      <p:bldP spid="7" grpId="0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75"/>
          <p:cNvSpPr>
            <a:spLocks noChangeArrowheads="1"/>
          </p:cNvSpPr>
          <p:nvPr/>
        </p:nvSpPr>
        <p:spPr bwMode="gray">
          <a:xfrm>
            <a:off x="1991754" y="1414143"/>
            <a:ext cx="5292000" cy="1800000"/>
          </a:xfrm>
          <a:prstGeom prst="downArrow">
            <a:avLst>
              <a:gd name="adj1" fmla="val 80356"/>
              <a:gd name="adj2" fmla="val 54167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 Box 76"/>
          <p:cNvSpPr txBox="1">
            <a:spLocks noChangeArrowheads="1"/>
          </p:cNvSpPr>
          <p:nvPr/>
        </p:nvSpPr>
        <p:spPr bwMode="auto">
          <a:xfrm>
            <a:off x="3511550" y="2518818"/>
            <a:ext cx="2274888" cy="307975"/>
          </a:xfrm>
          <a:prstGeom prst="rect">
            <a:avLst/>
          </a:prstGeom>
          <a:noFill/>
          <a:ln w="9525" algn="ctr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箭头说明文字</a:t>
            </a:r>
            <a:endParaRPr lang="zh-CN" altLang="en-US" sz="1400" dirty="0">
              <a:solidFill>
                <a:schemeClr val="bg1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5" name="AutoShape 81"/>
          <p:cNvSpPr>
            <a:spLocks noChangeArrowheads="1"/>
          </p:cNvSpPr>
          <p:nvPr/>
        </p:nvSpPr>
        <p:spPr bwMode="auto">
          <a:xfrm>
            <a:off x="1387880" y="3358572"/>
            <a:ext cx="1980000" cy="1080000"/>
          </a:xfrm>
          <a:prstGeom prst="roundRect">
            <a:avLst>
              <a:gd name="adj" fmla="val 8789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AutoShape 82"/>
          <p:cNvSpPr>
            <a:spLocks noChangeArrowheads="1"/>
          </p:cNvSpPr>
          <p:nvPr/>
        </p:nvSpPr>
        <p:spPr bwMode="auto">
          <a:xfrm>
            <a:off x="3647860" y="3358572"/>
            <a:ext cx="1980000" cy="1080000"/>
          </a:xfrm>
          <a:prstGeom prst="roundRect">
            <a:avLst>
              <a:gd name="adj" fmla="val 1021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AutoShape 83"/>
          <p:cNvSpPr>
            <a:spLocks noChangeArrowheads="1"/>
          </p:cNvSpPr>
          <p:nvPr/>
        </p:nvSpPr>
        <p:spPr bwMode="auto">
          <a:xfrm>
            <a:off x="5906325" y="3358572"/>
            <a:ext cx="1980000" cy="1080000"/>
          </a:xfrm>
          <a:prstGeom prst="roundRect">
            <a:avLst>
              <a:gd name="adj" fmla="val 11948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zh-CN" altLang="en-US" sz="1400" dirty="0">
                <a:solidFill>
                  <a:schemeClr val="tx2">
                    <a:lumMod val="25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点击添加文本</a:t>
            </a:r>
            <a:endParaRPr lang="zh-CN" altLang="en-US" sz="1400" dirty="0">
              <a:solidFill>
                <a:schemeClr val="tx2">
                  <a:lumMod val="25000"/>
                </a:schemeClr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组合 42"/>
          <p:cNvGrpSpPr/>
          <p:nvPr/>
        </p:nvGrpSpPr>
        <p:grpSpPr bwMode="auto">
          <a:xfrm>
            <a:off x="1331913" y="3310980"/>
            <a:ext cx="360362" cy="358775"/>
            <a:chOff x="1220659" y="4812330"/>
            <a:chExt cx="360000" cy="360000"/>
          </a:xfrm>
        </p:grpSpPr>
        <p:sp>
          <p:nvSpPr>
            <p:cNvPr id="9" name="Oval 84"/>
            <p:cNvSpPr>
              <a:spLocks noChangeAspect="1" noChangeArrowheads="1"/>
            </p:cNvSpPr>
            <p:nvPr/>
          </p:nvSpPr>
          <p:spPr bwMode="auto">
            <a:xfrm>
              <a:off x="1220659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130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Text Box 85"/>
            <p:cNvSpPr txBox="1">
              <a:spLocks noChangeArrowheads="1"/>
            </p:cNvSpPr>
            <p:nvPr/>
          </p:nvSpPr>
          <p:spPr bwMode="auto">
            <a:xfrm>
              <a:off x="1234932" y="4836224"/>
              <a:ext cx="331455" cy="307433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pc="50" dirty="0">
                  <a:ln w="11430"/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en-US" altLang="zh-CN" sz="1400" b="1" spc="50" dirty="0">
                <a:ln w="11430"/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45"/>
          <p:cNvGrpSpPr/>
          <p:nvPr/>
        </p:nvGrpSpPr>
        <p:grpSpPr bwMode="auto">
          <a:xfrm>
            <a:off x="3590925" y="3310980"/>
            <a:ext cx="360363" cy="358775"/>
            <a:chOff x="3401927" y="4812330"/>
            <a:chExt cx="360000" cy="360000"/>
          </a:xfrm>
        </p:grpSpPr>
        <p:sp>
          <p:nvSpPr>
            <p:cNvPr id="12" name="Oval 88"/>
            <p:cNvSpPr>
              <a:spLocks noChangeAspect="1" noChangeArrowheads="1"/>
            </p:cNvSpPr>
            <p:nvPr/>
          </p:nvSpPr>
          <p:spPr bwMode="auto">
            <a:xfrm>
              <a:off x="3401927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130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Text Box 89"/>
            <p:cNvSpPr txBox="1">
              <a:spLocks noChangeArrowheads="1"/>
            </p:cNvSpPr>
            <p:nvPr/>
          </p:nvSpPr>
          <p:spPr bwMode="auto">
            <a:xfrm>
              <a:off x="3419372" y="4836224"/>
              <a:ext cx="325109" cy="307433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pc="50" dirty="0">
                  <a:ln w="11430"/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en-US" altLang="zh-CN" sz="1400" b="1" spc="50" dirty="0">
                <a:ln w="11430"/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48"/>
          <p:cNvGrpSpPr/>
          <p:nvPr/>
        </p:nvGrpSpPr>
        <p:grpSpPr bwMode="auto">
          <a:xfrm>
            <a:off x="5849938" y="3310980"/>
            <a:ext cx="360362" cy="358775"/>
            <a:chOff x="5721318" y="4812330"/>
            <a:chExt cx="360000" cy="360000"/>
          </a:xfrm>
        </p:grpSpPr>
        <p:sp>
          <p:nvSpPr>
            <p:cNvPr id="15" name="Oval 91"/>
            <p:cNvSpPr>
              <a:spLocks noChangeAspect="1" noChangeArrowheads="1"/>
            </p:cNvSpPr>
            <p:nvPr/>
          </p:nvSpPr>
          <p:spPr bwMode="auto">
            <a:xfrm>
              <a:off x="5721318" y="4812330"/>
              <a:ext cx="360000" cy="360000"/>
            </a:xfrm>
            <a:prstGeom prst="ellipse">
              <a:avLst/>
            </a:prstGeom>
            <a:gradFill flip="none" rotWithShape="1">
              <a:gsLst>
                <a:gs pos="0">
                  <a:srgbClr val="F6BB00"/>
                </a:gs>
                <a:gs pos="90000">
                  <a:srgbClr val="ED6601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130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anose="05000000000000000000" pitchFamily="2" charset="2"/>
                <a:buChar char="u"/>
                <a:defRPr/>
              </a:pPr>
              <a:endParaRPr lang="zh-CN" altLang="en-US" sz="14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 Box 92"/>
            <p:cNvSpPr txBox="1">
              <a:spLocks noChangeArrowheads="1"/>
            </p:cNvSpPr>
            <p:nvPr/>
          </p:nvSpPr>
          <p:spPr bwMode="auto">
            <a:xfrm>
              <a:off x="5745106" y="4836224"/>
              <a:ext cx="312424" cy="307433"/>
            </a:xfrm>
            <a:prstGeom prst="rect">
              <a:avLst/>
            </a:prstGeom>
            <a:noFill/>
            <a:ln w="9525" algn="ctr">
              <a:noFill/>
              <a:miter lim="800000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spc="50" dirty="0">
                  <a:ln w="11430"/>
                  <a:solidFill>
                    <a:schemeClr val="bg1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en-US" altLang="zh-CN" sz="1400" b="1" spc="50" dirty="0">
                <a:ln w="11430"/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34"/>
          <p:cNvGrpSpPr>
            <a:grpSpLocks noChangeAspect="1"/>
          </p:cNvGrpSpPr>
          <p:nvPr/>
        </p:nvGrpSpPr>
        <p:grpSpPr bwMode="auto">
          <a:xfrm>
            <a:off x="1693859" y="699542"/>
            <a:ext cx="1368424" cy="1368425"/>
            <a:chOff x="4776332" y="4404803"/>
            <a:chExt cx="1012163" cy="1008001"/>
          </a:xfrm>
        </p:grpSpPr>
        <p:sp>
          <p:nvSpPr>
            <p:cNvPr id="28" name="Oval 2"/>
            <p:cNvSpPr>
              <a:spLocks noChangeAspect="1" noChangeArrowheads="1"/>
            </p:cNvSpPr>
            <p:nvPr/>
          </p:nvSpPr>
          <p:spPr bwMode="auto">
            <a:xfrm>
              <a:off x="4780496" y="4404803"/>
              <a:ext cx="1007999" cy="1008001"/>
            </a:xfrm>
            <a:prstGeom prst="ellipse">
              <a:avLst/>
            </a:prstGeom>
            <a:solidFill>
              <a:srgbClr val="DE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FF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" name="椭圆 28"/>
            <p:cNvSpPr/>
            <p:nvPr/>
          </p:nvSpPr>
          <p:spPr>
            <a:xfrm rot="19388639">
              <a:off x="4776332" y="4463272"/>
              <a:ext cx="684560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ffectLst/>
                <a:ea typeface="微软雅黑" panose="020B0503020204020204" pitchFamily="34" charset="-122"/>
              </a:endParaRPr>
            </a:p>
          </p:txBody>
        </p:sp>
      </p:grpSp>
      <p:sp>
        <p:nvSpPr>
          <p:cNvPr id="31" name="TextBox 147"/>
          <p:cNvSpPr txBox="1">
            <a:spLocks noChangeArrowheads="1"/>
          </p:cNvSpPr>
          <p:nvPr/>
        </p:nvSpPr>
        <p:spPr bwMode="auto">
          <a:xfrm>
            <a:off x="1772492" y="1222728"/>
            <a:ext cx="1210776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6" name="组合 34"/>
          <p:cNvGrpSpPr>
            <a:grpSpLocks noChangeAspect="1"/>
          </p:cNvGrpSpPr>
          <p:nvPr/>
        </p:nvGrpSpPr>
        <p:grpSpPr bwMode="auto">
          <a:xfrm>
            <a:off x="3935087" y="699542"/>
            <a:ext cx="1368424" cy="1368425"/>
            <a:chOff x="4776332" y="4404803"/>
            <a:chExt cx="1012163" cy="1008001"/>
          </a:xfrm>
        </p:grpSpPr>
        <p:sp>
          <p:nvSpPr>
            <p:cNvPr id="37" name="Oval 2"/>
            <p:cNvSpPr>
              <a:spLocks noChangeAspect="1" noChangeArrowheads="1"/>
            </p:cNvSpPr>
            <p:nvPr/>
          </p:nvSpPr>
          <p:spPr bwMode="auto">
            <a:xfrm>
              <a:off x="4780496" y="4404803"/>
              <a:ext cx="1007999" cy="1008001"/>
            </a:xfrm>
            <a:prstGeom prst="ellipse">
              <a:avLst/>
            </a:prstGeom>
            <a:solidFill>
              <a:srgbClr val="DE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FF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椭圆 37"/>
            <p:cNvSpPr/>
            <p:nvPr/>
          </p:nvSpPr>
          <p:spPr>
            <a:xfrm rot="19388639">
              <a:off x="4776332" y="4463272"/>
              <a:ext cx="684560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ffectLst/>
                <a:ea typeface="微软雅黑" panose="020B0503020204020204" pitchFamily="34" charset="-122"/>
              </a:endParaRPr>
            </a:p>
          </p:txBody>
        </p:sp>
      </p:grpSp>
      <p:sp>
        <p:nvSpPr>
          <p:cNvPr id="39" name="TextBox 147"/>
          <p:cNvSpPr txBox="1">
            <a:spLocks noChangeArrowheads="1"/>
          </p:cNvSpPr>
          <p:nvPr/>
        </p:nvSpPr>
        <p:spPr bwMode="auto">
          <a:xfrm>
            <a:off x="4013720" y="1222728"/>
            <a:ext cx="1210776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0" name="组合 34"/>
          <p:cNvGrpSpPr>
            <a:grpSpLocks noChangeAspect="1"/>
          </p:cNvGrpSpPr>
          <p:nvPr/>
        </p:nvGrpSpPr>
        <p:grpSpPr bwMode="auto">
          <a:xfrm>
            <a:off x="6068329" y="699542"/>
            <a:ext cx="1368424" cy="1368425"/>
            <a:chOff x="4776332" y="4404803"/>
            <a:chExt cx="1012163" cy="1008001"/>
          </a:xfrm>
        </p:grpSpPr>
        <p:sp>
          <p:nvSpPr>
            <p:cNvPr id="41" name="Oval 2"/>
            <p:cNvSpPr>
              <a:spLocks noChangeAspect="1" noChangeArrowheads="1"/>
            </p:cNvSpPr>
            <p:nvPr/>
          </p:nvSpPr>
          <p:spPr bwMode="auto">
            <a:xfrm>
              <a:off x="4780496" y="4404803"/>
              <a:ext cx="1007999" cy="1008001"/>
            </a:xfrm>
            <a:prstGeom prst="ellipse">
              <a:avLst/>
            </a:prstGeom>
            <a:solidFill>
              <a:srgbClr val="DE0000"/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FF0000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fr-FR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椭圆 41"/>
            <p:cNvSpPr/>
            <p:nvPr/>
          </p:nvSpPr>
          <p:spPr>
            <a:xfrm rot="19388639">
              <a:off x="4776332" y="4463272"/>
              <a:ext cx="684560" cy="46775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5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dirty="0">
                <a:effectLst/>
                <a:ea typeface="微软雅黑" panose="020B0503020204020204" pitchFamily="34" charset="-122"/>
              </a:endParaRPr>
            </a:p>
          </p:txBody>
        </p:sp>
      </p:grpSp>
      <p:sp>
        <p:nvSpPr>
          <p:cNvPr id="43" name="TextBox 147"/>
          <p:cNvSpPr txBox="1">
            <a:spLocks noChangeArrowheads="1"/>
          </p:cNvSpPr>
          <p:nvPr/>
        </p:nvSpPr>
        <p:spPr bwMode="auto">
          <a:xfrm>
            <a:off x="6146962" y="1222728"/>
            <a:ext cx="1210776" cy="33855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16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6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5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8000"/>
                            </p:stCondLst>
                            <p:childTnLst>
                              <p:par>
                                <p:cTn id="7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9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5" grpId="0" animBg="1"/>
      <p:bldP spid="6" grpId="0" animBg="1"/>
      <p:bldP spid="7" grpId="0" animBg="1"/>
      <p:bldP spid="31" grpId="0"/>
      <p:bldP spid="39" grpId="0"/>
      <p:bldP spid="4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3131840" y="2211710"/>
            <a:ext cx="295232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4400" b="1" dirty="0" smtClean="0">
                <a:solidFill>
                  <a:schemeClr val="accent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ANKS!</a:t>
            </a:r>
            <a:endParaRPr lang="zh-CN" altLang="en-US" sz="4400" b="1" dirty="0">
              <a:solidFill>
                <a:schemeClr val="accent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Click="0" advTm="1000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2976935" y="1696863"/>
            <a:ext cx="773113" cy="1858963"/>
            <a:chOff x="2832919" y="1837729"/>
            <a:chExt cx="773113" cy="1858963"/>
          </a:xfrm>
        </p:grpSpPr>
        <p:sp>
          <p:nvSpPr>
            <p:cNvPr id="69" name="Freeform 3"/>
            <p:cNvSpPr/>
            <p:nvPr/>
          </p:nvSpPr>
          <p:spPr bwMode="auto">
            <a:xfrm>
              <a:off x="2832919" y="1837729"/>
              <a:ext cx="387350" cy="1858963"/>
            </a:xfrm>
            <a:custGeom>
              <a:avLst/>
              <a:gdLst>
                <a:gd name="T0" fmla="*/ 0 w 227"/>
                <a:gd name="T1" fmla="*/ 0 h 2178"/>
                <a:gd name="T2" fmla="*/ 227 w 227"/>
                <a:gd name="T3" fmla="*/ 0 h 2178"/>
                <a:gd name="T4" fmla="*/ 227 w 227"/>
                <a:gd name="T5" fmla="*/ 2178 h 2178"/>
                <a:gd name="T6" fmla="*/ 0 w 227"/>
                <a:gd name="T7" fmla="*/ 2178 h 2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7" h="2178">
                  <a:moveTo>
                    <a:pt x="0" y="0"/>
                  </a:moveTo>
                  <a:lnTo>
                    <a:pt x="227" y="0"/>
                  </a:lnTo>
                  <a:lnTo>
                    <a:pt x="227" y="2178"/>
                  </a:lnTo>
                  <a:lnTo>
                    <a:pt x="0" y="2178"/>
                  </a:lnTo>
                </a:path>
              </a:pathLst>
            </a:custGeom>
            <a:noFill/>
            <a:ln w="19050" cap="flat" cmpd="sng">
              <a:solidFill>
                <a:srgbClr val="5F5F5F"/>
              </a:solidFill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0" name="Line 4"/>
            <p:cNvSpPr>
              <a:spLocks noChangeShapeType="1"/>
            </p:cNvSpPr>
            <p:nvPr/>
          </p:nvSpPr>
          <p:spPr bwMode="auto">
            <a:xfrm>
              <a:off x="2832919" y="2761655"/>
              <a:ext cx="773113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4" name="组合 3"/>
          <p:cNvGrpSpPr/>
          <p:nvPr/>
        </p:nvGrpSpPr>
        <p:grpSpPr>
          <a:xfrm>
            <a:off x="5416923" y="1696863"/>
            <a:ext cx="773112" cy="1849438"/>
            <a:chOff x="5272907" y="1837729"/>
            <a:chExt cx="773112" cy="1849438"/>
          </a:xfrm>
        </p:grpSpPr>
        <p:sp>
          <p:nvSpPr>
            <p:cNvPr id="73" name="Freeform 7"/>
            <p:cNvSpPr/>
            <p:nvPr/>
          </p:nvSpPr>
          <p:spPr bwMode="auto">
            <a:xfrm rot="10800000">
              <a:off x="5657082" y="1837729"/>
              <a:ext cx="385762" cy="1849438"/>
            </a:xfrm>
            <a:custGeom>
              <a:avLst/>
              <a:gdLst>
                <a:gd name="T0" fmla="*/ 0 w 227"/>
                <a:gd name="T1" fmla="*/ 0 h 2178"/>
                <a:gd name="T2" fmla="*/ 227 w 227"/>
                <a:gd name="T3" fmla="*/ 0 h 2178"/>
                <a:gd name="T4" fmla="*/ 227 w 227"/>
                <a:gd name="T5" fmla="*/ 2178 h 2178"/>
                <a:gd name="T6" fmla="*/ 0 w 227"/>
                <a:gd name="T7" fmla="*/ 2178 h 2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7" h="2178">
                  <a:moveTo>
                    <a:pt x="0" y="0"/>
                  </a:moveTo>
                  <a:lnTo>
                    <a:pt x="227" y="0"/>
                  </a:lnTo>
                  <a:lnTo>
                    <a:pt x="227" y="2178"/>
                  </a:lnTo>
                  <a:lnTo>
                    <a:pt x="0" y="2178"/>
                  </a:lnTo>
                </a:path>
              </a:pathLst>
            </a:custGeom>
            <a:noFill/>
            <a:ln w="19050" cap="flat" cmpd="sng">
              <a:solidFill>
                <a:srgbClr val="5F5F5F"/>
              </a:solidFill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4" name="Line 8"/>
            <p:cNvSpPr>
              <a:spLocks noChangeShapeType="1"/>
            </p:cNvSpPr>
            <p:nvPr/>
          </p:nvSpPr>
          <p:spPr bwMode="auto">
            <a:xfrm rot="10800000">
              <a:off x="5272907" y="2761655"/>
              <a:ext cx="773112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78" name="Rectangle 12"/>
          <p:cNvSpPr>
            <a:spLocks noChangeArrowheads="1"/>
          </p:cNvSpPr>
          <p:nvPr/>
        </p:nvSpPr>
        <p:spPr bwMode="auto">
          <a:xfrm>
            <a:off x="6169398" y="1347614"/>
            <a:ext cx="2335212" cy="677862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2700000" scaled="1"/>
          </a:gradFill>
          <a:ln w="9525" algn="ctr">
            <a:solidFill>
              <a:srgbClr val="C0C0C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0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</a:t>
            </a:r>
            <a:endParaRPr lang="zh-CN" altLang="en-US" sz="10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Rectangle 13"/>
          <p:cNvSpPr>
            <a:spLocks noChangeArrowheads="1"/>
          </p:cNvSpPr>
          <p:nvPr/>
        </p:nvSpPr>
        <p:spPr bwMode="auto">
          <a:xfrm>
            <a:off x="6169398" y="2271539"/>
            <a:ext cx="2335212" cy="6794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2700000" scaled="1"/>
          </a:gradFill>
          <a:ln w="9525" algn="ctr">
            <a:solidFill>
              <a:srgbClr val="C0C0C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0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</a:t>
            </a:r>
            <a:endParaRPr lang="zh-CN" altLang="en-US" sz="10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Rectangle 14"/>
          <p:cNvSpPr>
            <a:spLocks noChangeArrowheads="1"/>
          </p:cNvSpPr>
          <p:nvPr/>
        </p:nvSpPr>
        <p:spPr bwMode="auto">
          <a:xfrm>
            <a:off x="6169398" y="3216101"/>
            <a:ext cx="2335212" cy="6794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2700000" scaled="1"/>
          </a:gradFill>
          <a:ln w="9525" algn="ctr">
            <a:solidFill>
              <a:srgbClr val="C0C0C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120000"/>
              </a:lnSpc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0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</a:t>
            </a:r>
            <a:endParaRPr lang="zh-CN" altLang="en-US" sz="10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Rectangle 17"/>
          <p:cNvSpPr>
            <a:spLocks noChangeArrowheads="1"/>
          </p:cNvSpPr>
          <p:nvPr/>
        </p:nvSpPr>
        <p:spPr bwMode="auto">
          <a:xfrm>
            <a:off x="611560" y="1347614"/>
            <a:ext cx="2335213" cy="677862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2700000" scaled="1"/>
          </a:gradFill>
          <a:ln w="9525" algn="ctr">
            <a:solidFill>
              <a:srgbClr val="C0C0C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>
              <a:lnSpc>
                <a:spcPct val="120000"/>
              </a:lnSpc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0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0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Rectangle 18"/>
          <p:cNvSpPr>
            <a:spLocks noChangeArrowheads="1"/>
          </p:cNvSpPr>
          <p:nvPr/>
        </p:nvSpPr>
        <p:spPr bwMode="auto">
          <a:xfrm>
            <a:off x="611560" y="2271539"/>
            <a:ext cx="2335213" cy="6794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2700000" scaled="1"/>
          </a:gradFill>
          <a:ln w="9525" algn="ctr">
            <a:solidFill>
              <a:srgbClr val="C0C0C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>
              <a:lnSpc>
                <a:spcPct val="120000"/>
              </a:lnSpc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0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0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Rectangle 19"/>
          <p:cNvSpPr>
            <a:spLocks noChangeArrowheads="1"/>
          </p:cNvSpPr>
          <p:nvPr/>
        </p:nvSpPr>
        <p:spPr bwMode="auto">
          <a:xfrm>
            <a:off x="611560" y="3216101"/>
            <a:ext cx="2335213" cy="6794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2700000" scaled="1"/>
          </a:gradFill>
          <a:ln w="9525" algn="ctr">
            <a:solidFill>
              <a:srgbClr val="C0C0C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>
              <a:lnSpc>
                <a:spcPct val="120000"/>
              </a:lnSpc>
            </a:pPr>
            <a:r>
              <a:rPr lang="zh-CN" altLang="en-US" sz="14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00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000">
              <a:solidFill>
                <a:schemeClr val="tx2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3721473" y="1828626"/>
            <a:ext cx="1671637" cy="1646238"/>
            <a:chOff x="3577457" y="1969492"/>
            <a:chExt cx="1671637" cy="1646238"/>
          </a:xfrm>
        </p:grpSpPr>
        <p:sp>
          <p:nvSpPr>
            <p:cNvPr id="87" name="Oval 22"/>
            <p:cNvSpPr>
              <a:spLocks noChangeArrowheads="1"/>
            </p:cNvSpPr>
            <p:nvPr/>
          </p:nvSpPr>
          <p:spPr bwMode="gray">
            <a:xfrm>
              <a:off x="3577457" y="1969492"/>
              <a:ext cx="1671637" cy="1646238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chemeClr val="hlink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zh-CN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88" name="Picture 24" descr="Picture2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748907" y="1982192"/>
              <a:ext cx="1330325" cy="581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9" name="Group 25"/>
            <p:cNvGrpSpPr/>
            <p:nvPr/>
          </p:nvGrpSpPr>
          <p:grpSpPr bwMode="auto">
            <a:xfrm>
              <a:off x="3686994" y="3266480"/>
              <a:ext cx="1454150" cy="287337"/>
              <a:chOff x="2395" y="2655"/>
              <a:chExt cx="952" cy="188"/>
            </a:xfrm>
          </p:grpSpPr>
          <p:sp>
            <p:nvSpPr>
              <p:cNvPr id="90" name="AutoShape 26"/>
              <p:cNvSpPr>
                <a:spLocks noChangeArrowheads="1"/>
              </p:cNvSpPr>
              <p:nvPr/>
            </p:nvSpPr>
            <p:spPr bwMode="ltGray">
              <a:xfrm rot="3965706" flipH="1" flipV="1">
                <a:off x="2991" y="2437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1" name="AutoShape 27"/>
              <p:cNvSpPr>
                <a:spLocks noChangeArrowheads="1"/>
              </p:cNvSpPr>
              <p:nvPr/>
            </p:nvSpPr>
            <p:spPr bwMode="ltGray">
              <a:xfrm rot="4780856" flipH="1" flipV="1">
                <a:off x="2902" y="2472"/>
                <a:ext cx="138" cy="573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2" name="AutoShape 28"/>
              <p:cNvSpPr>
                <a:spLocks noChangeArrowheads="1"/>
              </p:cNvSpPr>
              <p:nvPr/>
            </p:nvSpPr>
            <p:spPr bwMode="ltGray">
              <a:xfrm rot="5076502" flipH="1" flipV="1">
                <a:off x="2847" y="2480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3" name="AutoShape 29"/>
              <p:cNvSpPr>
                <a:spLocks noChangeArrowheads="1"/>
              </p:cNvSpPr>
              <p:nvPr/>
            </p:nvSpPr>
            <p:spPr bwMode="ltGray">
              <a:xfrm rot="5608887" flipH="1" flipV="1">
                <a:off x="2782" y="2487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4" name="AutoShape 30"/>
              <p:cNvSpPr>
                <a:spLocks noChangeArrowheads="1"/>
              </p:cNvSpPr>
              <p:nvPr/>
            </p:nvSpPr>
            <p:spPr bwMode="ltGray">
              <a:xfrm rot="5319246" flipH="1" flipV="1">
                <a:off x="2824" y="2487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5" name="AutoShape 31"/>
              <p:cNvSpPr>
                <a:spLocks noChangeArrowheads="1"/>
              </p:cNvSpPr>
              <p:nvPr/>
            </p:nvSpPr>
            <p:spPr bwMode="ltGray">
              <a:xfrm rot="6134397" flipH="1" flipV="1">
                <a:off x="2729" y="2486"/>
                <a:ext cx="138" cy="573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6" name="AutoShape 32"/>
              <p:cNvSpPr>
                <a:spLocks noChangeArrowheads="1"/>
              </p:cNvSpPr>
              <p:nvPr/>
            </p:nvSpPr>
            <p:spPr bwMode="ltGray">
              <a:xfrm rot="6430042" flipH="1" flipV="1">
                <a:off x="2674" y="2472"/>
                <a:ext cx="139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7" name="AutoShape 33"/>
              <p:cNvSpPr>
                <a:spLocks noChangeArrowheads="1"/>
              </p:cNvSpPr>
              <p:nvPr/>
            </p:nvSpPr>
            <p:spPr bwMode="ltGray">
              <a:xfrm rot="6962427" flipH="1" flipV="1">
                <a:off x="2613" y="2452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98" name="WordArt 34"/>
          <p:cNvSpPr>
            <a:spLocks noChangeArrowheads="1" noChangeShapeType="1" noTextEdit="1"/>
          </p:cNvSpPr>
          <p:nvPr/>
        </p:nvSpPr>
        <p:spPr bwMode="auto">
          <a:xfrm rot="-21600000">
            <a:off x="3950073" y="2286868"/>
            <a:ext cx="1212850" cy="73183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2400" kern="1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击添加</a:t>
            </a:r>
            <a:endParaRPr lang="zh-CN" altLang="en-US" sz="2400" kern="1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2400" kern="1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文字</a:t>
            </a:r>
            <a:endParaRPr lang="zh-CN" altLang="en-US" sz="2400" kern="1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79" grpId="0" animBg="1"/>
      <p:bldP spid="80" grpId="0" animBg="1"/>
      <p:bldP spid="83" grpId="0" animBg="1"/>
      <p:bldP spid="84" grpId="0" animBg="1"/>
      <p:bldP spid="85" grpId="0" animBg="1"/>
      <p:bldP spid="9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2601913" y="1085651"/>
            <a:ext cx="4419600" cy="3371850"/>
            <a:chOff x="2601913" y="1352550"/>
            <a:chExt cx="4419600" cy="3371850"/>
          </a:xfrm>
        </p:grpSpPr>
        <p:sp>
          <p:nvSpPr>
            <p:cNvPr id="4" name="Oval 5"/>
            <p:cNvSpPr>
              <a:spLocks noChangeArrowheads="1"/>
            </p:cNvSpPr>
            <p:nvPr/>
          </p:nvSpPr>
          <p:spPr bwMode="auto">
            <a:xfrm>
              <a:off x="2601913" y="4191000"/>
              <a:ext cx="4419600" cy="533400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80000"/>
                  </a:srgbClr>
                </a:gs>
                <a:gs pos="100000">
                  <a:srgbClr val="445E7A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" name="Freeform 6"/>
            <p:cNvSpPr/>
            <p:nvPr/>
          </p:nvSpPr>
          <p:spPr bwMode="auto">
            <a:xfrm>
              <a:off x="5724525" y="2962275"/>
              <a:ext cx="9525" cy="4763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" name="Freeform 7"/>
            <p:cNvSpPr/>
            <p:nvPr/>
          </p:nvSpPr>
          <p:spPr bwMode="auto">
            <a:xfrm>
              <a:off x="3665538" y="3332163"/>
              <a:ext cx="2498725" cy="1239837"/>
            </a:xfrm>
            <a:custGeom>
              <a:avLst/>
              <a:gdLst>
                <a:gd name="T0" fmla="*/ 201 w 250"/>
                <a:gd name="T1" fmla="*/ 54 h 124"/>
                <a:gd name="T2" fmla="*/ 0 w 250"/>
                <a:gd name="T3" fmla="*/ 86 h 124"/>
                <a:gd name="T4" fmla="*/ 133 w 250"/>
                <a:gd name="T5" fmla="*/ 105 h 124"/>
                <a:gd name="T6" fmla="*/ 250 w 250"/>
                <a:gd name="T7" fmla="*/ 12 h 124"/>
                <a:gd name="T8" fmla="*/ 247 w 250"/>
                <a:gd name="T9" fmla="*/ 0 h 124"/>
                <a:gd name="T10" fmla="*/ 201 w 250"/>
                <a:gd name="T11" fmla="*/ 5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124">
                  <a:moveTo>
                    <a:pt x="201" y="54"/>
                  </a:moveTo>
                  <a:cubicBezTo>
                    <a:pt x="135" y="110"/>
                    <a:pt x="51" y="122"/>
                    <a:pt x="0" y="86"/>
                  </a:cubicBezTo>
                  <a:cubicBezTo>
                    <a:pt x="26" y="108"/>
                    <a:pt x="68" y="124"/>
                    <a:pt x="133" y="105"/>
                  </a:cubicBezTo>
                  <a:cubicBezTo>
                    <a:pt x="181" y="91"/>
                    <a:pt x="223" y="55"/>
                    <a:pt x="250" y="12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35" y="19"/>
                    <a:pt x="219" y="38"/>
                    <a:pt x="201" y="54"/>
                  </a:cubicBezTo>
                  <a:close/>
                </a:path>
              </a:pathLst>
            </a:custGeom>
            <a:gradFill rotWithShape="1">
              <a:gsLst>
                <a:gs pos="0">
                  <a:srgbClr val="1C1C1C"/>
                </a:gs>
                <a:gs pos="100000">
                  <a:srgbClr val="333333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" name="Freeform 8"/>
            <p:cNvSpPr/>
            <p:nvPr/>
          </p:nvSpPr>
          <p:spPr bwMode="auto">
            <a:xfrm>
              <a:off x="6034088" y="1612900"/>
              <a:ext cx="530225" cy="1689100"/>
            </a:xfrm>
            <a:custGeom>
              <a:avLst/>
              <a:gdLst>
                <a:gd name="T0" fmla="*/ 13 w 53"/>
                <a:gd name="T1" fmla="*/ 13 h 169"/>
                <a:gd name="T2" fmla="*/ 19 w 53"/>
                <a:gd name="T3" fmla="*/ 156 h 169"/>
                <a:gd name="T4" fmla="*/ 19 w 53"/>
                <a:gd name="T5" fmla="*/ 156 h 169"/>
                <a:gd name="T6" fmla="*/ 21 w 53"/>
                <a:gd name="T7" fmla="*/ 169 h 169"/>
                <a:gd name="T8" fmla="*/ 0 w 53"/>
                <a:gd name="T9" fmla="*/ 0 h 169"/>
                <a:gd name="T10" fmla="*/ 13 w 53"/>
                <a:gd name="T11" fmla="*/ 1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69">
                  <a:moveTo>
                    <a:pt x="13" y="13"/>
                  </a:moveTo>
                  <a:cubicBezTo>
                    <a:pt x="44" y="49"/>
                    <a:pt x="44" y="105"/>
                    <a:pt x="19" y="156"/>
                  </a:cubicBezTo>
                  <a:cubicBezTo>
                    <a:pt x="19" y="156"/>
                    <a:pt x="19" y="156"/>
                    <a:pt x="19" y="156"/>
                  </a:cubicBezTo>
                  <a:cubicBezTo>
                    <a:pt x="21" y="169"/>
                    <a:pt x="21" y="169"/>
                    <a:pt x="21" y="169"/>
                  </a:cubicBezTo>
                  <a:cubicBezTo>
                    <a:pt x="53" y="108"/>
                    <a:pt x="53" y="39"/>
                    <a:pt x="0" y="0"/>
                  </a:cubicBezTo>
                  <a:cubicBezTo>
                    <a:pt x="5" y="4"/>
                    <a:pt x="9" y="8"/>
                    <a:pt x="13" y="13"/>
                  </a:cubicBezTo>
                  <a:close/>
                </a:path>
              </a:pathLst>
            </a:custGeom>
            <a:gradFill rotWithShape="1">
              <a:gsLst>
                <a:gs pos="0">
                  <a:srgbClr val="1C1C1C"/>
                </a:gs>
                <a:gs pos="100000">
                  <a:srgbClr val="333333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" name="Freeform 9"/>
            <p:cNvSpPr/>
            <p:nvPr/>
          </p:nvSpPr>
          <p:spPr bwMode="auto">
            <a:xfrm>
              <a:off x="3295650" y="3660775"/>
              <a:ext cx="4763" cy="11113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" name="Freeform 10"/>
            <p:cNvSpPr/>
            <p:nvPr/>
          </p:nvSpPr>
          <p:spPr bwMode="auto">
            <a:xfrm>
              <a:off x="4594225" y="1503363"/>
              <a:ext cx="90488" cy="388937"/>
            </a:xfrm>
            <a:custGeom>
              <a:avLst/>
              <a:gdLst>
                <a:gd name="T0" fmla="*/ 6 w 9"/>
                <a:gd name="T1" fmla="*/ 39 h 39"/>
                <a:gd name="T2" fmla="*/ 9 w 9"/>
                <a:gd name="T3" fmla="*/ 11 h 39"/>
                <a:gd name="T4" fmla="*/ 4 w 9"/>
                <a:gd name="T5" fmla="*/ 0 h 39"/>
                <a:gd name="T6" fmla="*/ 4 w 9"/>
                <a:gd name="T7" fmla="*/ 1 h 39"/>
                <a:gd name="T8" fmla="*/ 0 w 9"/>
                <a:gd name="T9" fmla="*/ 31 h 39"/>
                <a:gd name="T10" fmla="*/ 6 w 9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39">
                  <a:moveTo>
                    <a:pt x="6" y="39"/>
                  </a:moveTo>
                  <a:cubicBezTo>
                    <a:pt x="9" y="11"/>
                    <a:pt x="9" y="11"/>
                    <a:pt x="9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6" y="39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" name="Freeform 11"/>
            <p:cNvSpPr/>
            <p:nvPr/>
          </p:nvSpPr>
          <p:spPr bwMode="auto">
            <a:xfrm>
              <a:off x="3295650" y="3462338"/>
              <a:ext cx="409575" cy="209550"/>
            </a:xfrm>
            <a:custGeom>
              <a:avLst/>
              <a:gdLst>
                <a:gd name="T0" fmla="*/ 41 w 41"/>
                <a:gd name="T1" fmla="*/ 0 h 21"/>
                <a:gd name="T2" fmla="*/ 33 w 41"/>
                <a:gd name="T3" fmla="*/ 0 h 21"/>
                <a:gd name="T4" fmla="*/ 0 w 41"/>
                <a:gd name="T5" fmla="*/ 20 h 21"/>
                <a:gd name="T6" fmla="*/ 8 w 41"/>
                <a:gd name="T7" fmla="*/ 20 h 21"/>
                <a:gd name="T8" fmla="*/ 41 w 41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1">
                  <a:moveTo>
                    <a:pt x="41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8" y="20"/>
                    <a:pt x="8" y="20"/>
                  </a:cubicBezTo>
                  <a:lnTo>
                    <a:pt x="41" y="0"/>
                  </a:lnTo>
                  <a:close/>
                </a:path>
              </a:pathLst>
            </a:custGeom>
            <a:gradFill rotWithShape="1">
              <a:gsLst>
                <a:gs pos="0">
                  <a:schemeClr val="hlink"/>
                </a:gs>
                <a:gs pos="100000">
                  <a:schemeClr val="accent1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" name="Freeform 12"/>
            <p:cNvSpPr/>
            <p:nvPr/>
          </p:nvSpPr>
          <p:spPr bwMode="auto">
            <a:xfrm>
              <a:off x="3135313" y="1512888"/>
              <a:ext cx="1500187" cy="2147887"/>
            </a:xfrm>
            <a:custGeom>
              <a:avLst/>
              <a:gdLst>
                <a:gd name="T0" fmla="*/ 95 w 150"/>
                <a:gd name="T1" fmla="*/ 65 h 215"/>
                <a:gd name="T2" fmla="*/ 146 w 150"/>
                <a:gd name="T3" fmla="*/ 30 h 215"/>
                <a:gd name="T4" fmla="*/ 146 w 150"/>
                <a:gd name="T5" fmla="*/ 30 h 215"/>
                <a:gd name="T6" fmla="*/ 146 w 150"/>
                <a:gd name="T7" fmla="*/ 29 h 215"/>
                <a:gd name="T8" fmla="*/ 150 w 150"/>
                <a:gd name="T9" fmla="*/ 0 h 215"/>
                <a:gd name="T10" fmla="*/ 85 w 150"/>
                <a:gd name="T11" fmla="*/ 39 h 215"/>
                <a:gd name="T12" fmla="*/ 16 w 150"/>
                <a:gd name="T13" fmla="*/ 215 h 215"/>
                <a:gd name="T14" fmla="*/ 49 w 150"/>
                <a:gd name="T15" fmla="*/ 195 h 215"/>
                <a:gd name="T16" fmla="*/ 95 w 150"/>
                <a:gd name="T17" fmla="*/ 6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0" h="215">
                  <a:moveTo>
                    <a:pt x="95" y="65"/>
                  </a:moveTo>
                  <a:cubicBezTo>
                    <a:pt x="111" y="49"/>
                    <a:pt x="128" y="38"/>
                    <a:pt x="146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29"/>
                    <a:pt x="146" y="29"/>
                    <a:pt x="146" y="29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28" y="8"/>
                    <a:pt x="105" y="22"/>
                    <a:pt x="85" y="39"/>
                  </a:cubicBezTo>
                  <a:cubicBezTo>
                    <a:pt x="26" y="90"/>
                    <a:pt x="0" y="161"/>
                    <a:pt x="16" y="215"/>
                  </a:cubicBezTo>
                  <a:cubicBezTo>
                    <a:pt x="49" y="195"/>
                    <a:pt x="49" y="195"/>
                    <a:pt x="49" y="195"/>
                  </a:cubicBezTo>
                  <a:cubicBezTo>
                    <a:pt x="37" y="157"/>
                    <a:pt x="54" y="104"/>
                    <a:pt x="95" y="65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" name="Freeform 13"/>
            <p:cNvSpPr/>
            <p:nvPr/>
          </p:nvSpPr>
          <p:spPr bwMode="auto">
            <a:xfrm>
              <a:off x="3335338" y="3122613"/>
              <a:ext cx="2798762" cy="1430337"/>
            </a:xfrm>
            <a:custGeom>
              <a:avLst/>
              <a:gdLst>
                <a:gd name="T0" fmla="*/ 234 w 280"/>
                <a:gd name="T1" fmla="*/ 75 h 143"/>
                <a:gd name="T2" fmla="*/ 280 w 280"/>
                <a:gd name="T3" fmla="*/ 21 h 143"/>
                <a:gd name="T4" fmla="*/ 280 w 280"/>
                <a:gd name="T5" fmla="*/ 21 h 143"/>
                <a:gd name="T6" fmla="*/ 231 w 280"/>
                <a:gd name="T7" fmla="*/ 0 h 143"/>
                <a:gd name="T8" fmla="*/ 203 w 280"/>
                <a:gd name="T9" fmla="*/ 35 h 143"/>
                <a:gd name="T10" fmla="*/ 71 w 280"/>
                <a:gd name="T11" fmla="*/ 77 h 143"/>
                <a:gd name="T12" fmla="*/ 45 w 280"/>
                <a:gd name="T13" fmla="*/ 61 h 143"/>
                <a:gd name="T14" fmla="*/ 32 w 280"/>
                <a:gd name="T15" fmla="*/ 43 h 143"/>
                <a:gd name="T16" fmla="*/ 0 w 280"/>
                <a:gd name="T17" fmla="*/ 63 h 143"/>
                <a:gd name="T18" fmla="*/ 33 w 280"/>
                <a:gd name="T19" fmla="*/ 107 h 143"/>
                <a:gd name="T20" fmla="*/ 234 w 280"/>
                <a:gd name="T21" fmla="*/ 7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143">
                  <a:moveTo>
                    <a:pt x="234" y="75"/>
                  </a:moveTo>
                  <a:cubicBezTo>
                    <a:pt x="252" y="59"/>
                    <a:pt x="268" y="40"/>
                    <a:pt x="280" y="21"/>
                  </a:cubicBezTo>
                  <a:cubicBezTo>
                    <a:pt x="280" y="21"/>
                    <a:pt x="280" y="21"/>
                    <a:pt x="280" y="21"/>
                  </a:cubicBezTo>
                  <a:cubicBezTo>
                    <a:pt x="280" y="21"/>
                    <a:pt x="242" y="5"/>
                    <a:pt x="231" y="0"/>
                  </a:cubicBezTo>
                  <a:cubicBezTo>
                    <a:pt x="223" y="12"/>
                    <a:pt x="214" y="24"/>
                    <a:pt x="203" y="35"/>
                  </a:cubicBezTo>
                  <a:cubicBezTo>
                    <a:pt x="161" y="75"/>
                    <a:pt x="108" y="91"/>
                    <a:pt x="71" y="77"/>
                  </a:cubicBezTo>
                  <a:cubicBezTo>
                    <a:pt x="61" y="74"/>
                    <a:pt x="52" y="68"/>
                    <a:pt x="45" y="61"/>
                  </a:cubicBezTo>
                  <a:cubicBezTo>
                    <a:pt x="39" y="56"/>
                    <a:pt x="35" y="50"/>
                    <a:pt x="32" y="4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" y="72"/>
                    <a:pt x="14" y="91"/>
                    <a:pt x="33" y="107"/>
                  </a:cubicBezTo>
                  <a:cubicBezTo>
                    <a:pt x="84" y="143"/>
                    <a:pt x="168" y="131"/>
                    <a:pt x="234" y="75"/>
                  </a:cubicBez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EAEAEA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" name="Freeform 14"/>
            <p:cNvSpPr/>
            <p:nvPr/>
          </p:nvSpPr>
          <p:spPr bwMode="auto">
            <a:xfrm>
              <a:off x="5724525" y="2962275"/>
              <a:ext cx="520700" cy="339725"/>
            </a:xfrm>
            <a:custGeom>
              <a:avLst/>
              <a:gdLst>
                <a:gd name="T0" fmla="*/ 52 w 52"/>
                <a:gd name="T1" fmla="*/ 34 h 34"/>
                <a:gd name="T2" fmla="*/ 50 w 52"/>
                <a:gd name="T3" fmla="*/ 21 h 34"/>
                <a:gd name="T4" fmla="*/ 1 w 52"/>
                <a:gd name="T5" fmla="*/ 0 h 34"/>
                <a:gd name="T6" fmla="*/ 0 w 52"/>
                <a:gd name="T7" fmla="*/ 0 h 34"/>
                <a:gd name="T8" fmla="*/ 3 w 52"/>
                <a:gd name="T9" fmla="*/ 10 h 34"/>
                <a:gd name="T10" fmla="*/ 52 w 52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4">
                  <a:moveTo>
                    <a:pt x="52" y="34"/>
                  </a:moveTo>
                  <a:cubicBezTo>
                    <a:pt x="50" y="21"/>
                    <a:pt x="50" y="21"/>
                    <a:pt x="50" y="2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3" y="10"/>
                    <a:pt x="3" y="10"/>
                    <a:pt x="3" y="10"/>
                  </a:cubicBezTo>
                  <a:lnTo>
                    <a:pt x="52" y="34"/>
                  </a:lnTo>
                  <a:close/>
                </a:path>
              </a:pathLst>
            </a:custGeom>
            <a:gradFill rotWithShape="1">
              <a:gsLst>
                <a:gs pos="0">
                  <a:srgbClr val="333333"/>
                </a:gs>
                <a:gs pos="100000">
                  <a:srgbClr val="B2B2B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Freeform 15"/>
            <p:cNvSpPr/>
            <p:nvPr/>
          </p:nvSpPr>
          <p:spPr bwMode="auto">
            <a:xfrm>
              <a:off x="4724400" y="1352550"/>
              <a:ext cx="1751013" cy="1819275"/>
            </a:xfrm>
            <a:custGeom>
              <a:avLst/>
              <a:gdLst>
                <a:gd name="T0" fmla="*/ 144 w 175"/>
                <a:gd name="T1" fmla="*/ 39 h 182"/>
                <a:gd name="T2" fmla="*/ 131 w 175"/>
                <a:gd name="T3" fmla="*/ 26 h 182"/>
                <a:gd name="T4" fmla="*/ 89 w 175"/>
                <a:gd name="T5" fmla="*/ 6 h 182"/>
                <a:gd name="T6" fmla="*/ 2 w 175"/>
                <a:gd name="T7" fmla="*/ 12 h 182"/>
                <a:gd name="T8" fmla="*/ 0 w 175"/>
                <a:gd name="T9" fmla="*/ 40 h 182"/>
                <a:gd name="T10" fmla="*/ 94 w 175"/>
                <a:gd name="T11" fmla="*/ 55 h 182"/>
                <a:gd name="T12" fmla="*/ 107 w 175"/>
                <a:gd name="T13" fmla="*/ 74 h 182"/>
                <a:gd name="T14" fmla="*/ 101 w 175"/>
                <a:gd name="T15" fmla="*/ 161 h 182"/>
                <a:gd name="T16" fmla="*/ 150 w 175"/>
                <a:gd name="T17" fmla="*/ 182 h 182"/>
                <a:gd name="T18" fmla="*/ 144 w 175"/>
                <a:gd name="T19" fmla="*/ 3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82">
                  <a:moveTo>
                    <a:pt x="144" y="39"/>
                  </a:moveTo>
                  <a:cubicBezTo>
                    <a:pt x="140" y="34"/>
                    <a:pt x="136" y="30"/>
                    <a:pt x="131" y="26"/>
                  </a:cubicBezTo>
                  <a:cubicBezTo>
                    <a:pt x="119" y="18"/>
                    <a:pt x="105" y="11"/>
                    <a:pt x="89" y="6"/>
                  </a:cubicBezTo>
                  <a:cubicBezTo>
                    <a:pt x="62" y="0"/>
                    <a:pt x="32" y="2"/>
                    <a:pt x="2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37" y="28"/>
                    <a:pt x="72" y="32"/>
                    <a:pt x="94" y="55"/>
                  </a:cubicBezTo>
                  <a:cubicBezTo>
                    <a:pt x="100" y="60"/>
                    <a:pt x="104" y="67"/>
                    <a:pt x="107" y="74"/>
                  </a:cubicBezTo>
                  <a:cubicBezTo>
                    <a:pt x="118" y="98"/>
                    <a:pt x="115" y="130"/>
                    <a:pt x="101" y="161"/>
                  </a:cubicBezTo>
                  <a:cubicBezTo>
                    <a:pt x="150" y="182"/>
                    <a:pt x="150" y="182"/>
                    <a:pt x="150" y="182"/>
                  </a:cubicBezTo>
                  <a:cubicBezTo>
                    <a:pt x="175" y="131"/>
                    <a:pt x="175" y="75"/>
                    <a:pt x="144" y="39"/>
                  </a:cubicBezTo>
                  <a:close/>
                </a:path>
              </a:pathLst>
            </a:custGeom>
            <a:gradFill rotWithShape="1">
              <a:gsLst>
                <a:gs pos="0">
                  <a:srgbClr val="C0C0C0"/>
                </a:gs>
                <a:gs pos="100000">
                  <a:srgbClr val="EAEAEA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5" name="Freeform 16"/>
            <p:cNvSpPr/>
            <p:nvPr/>
          </p:nvSpPr>
          <p:spPr bwMode="auto">
            <a:xfrm>
              <a:off x="4594225" y="1512888"/>
              <a:ext cx="41275" cy="300037"/>
            </a:xfrm>
            <a:custGeom>
              <a:avLst/>
              <a:gdLst>
                <a:gd name="T0" fmla="*/ 0 w 8"/>
                <a:gd name="T1" fmla="*/ 60 h 60"/>
                <a:gd name="T2" fmla="*/ 8 w 8"/>
                <a:gd name="T3" fmla="*/ 0 h 60"/>
                <a:gd name="T4" fmla="*/ 0 w 8"/>
                <a:gd name="T5" fmla="*/ 58 h 60"/>
                <a:gd name="T6" fmla="*/ 0 w 8"/>
                <a:gd name="T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0">
                  <a:moveTo>
                    <a:pt x="0" y="60"/>
                  </a:moveTo>
                  <a:lnTo>
                    <a:pt x="8" y="0"/>
                  </a:lnTo>
                  <a:lnTo>
                    <a:pt x="0" y="58"/>
                  </a:lnTo>
                  <a:lnTo>
                    <a:pt x="0" y="6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hlink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6" name="Freeform 17"/>
            <p:cNvSpPr/>
            <p:nvPr/>
          </p:nvSpPr>
          <p:spPr bwMode="auto">
            <a:xfrm>
              <a:off x="3505200" y="1812925"/>
              <a:ext cx="1139825" cy="1649413"/>
            </a:xfrm>
            <a:custGeom>
              <a:avLst/>
              <a:gdLst>
                <a:gd name="T0" fmla="*/ 12 w 114"/>
                <a:gd name="T1" fmla="*/ 165 h 165"/>
                <a:gd name="T2" fmla="*/ 12 w 114"/>
                <a:gd name="T3" fmla="*/ 165 h 165"/>
                <a:gd name="T4" fmla="*/ 20 w 114"/>
                <a:gd name="T5" fmla="*/ 165 h 165"/>
                <a:gd name="T6" fmla="*/ 20 w 114"/>
                <a:gd name="T7" fmla="*/ 112 h 165"/>
                <a:gd name="T8" fmla="*/ 114 w 114"/>
                <a:gd name="T9" fmla="*/ 8 h 165"/>
                <a:gd name="T10" fmla="*/ 109 w 114"/>
                <a:gd name="T11" fmla="*/ 0 h 165"/>
                <a:gd name="T12" fmla="*/ 58 w 114"/>
                <a:gd name="T13" fmla="*/ 35 h 165"/>
                <a:gd name="T14" fmla="*/ 12 w 114"/>
                <a:gd name="T15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65">
                  <a:moveTo>
                    <a:pt x="12" y="165"/>
                  </a:moveTo>
                  <a:cubicBezTo>
                    <a:pt x="12" y="165"/>
                    <a:pt x="12" y="165"/>
                    <a:pt x="12" y="165"/>
                  </a:cubicBezTo>
                  <a:cubicBezTo>
                    <a:pt x="20" y="165"/>
                    <a:pt x="20" y="165"/>
                    <a:pt x="20" y="165"/>
                  </a:cubicBezTo>
                  <a:cubicBezTo>
                    <a:pt x="12" y="142"/>
                    <a:pt x="20" y="112"/>
                    <a:pt x="20" y="112"/>
                  </a:cubicBezTo>
                  <a:cubicBezTo>
                    <a:pt x="20" y="112"/>
                    <a:pt x="38" y="41"/>
                    <a:pt x="114" y="8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91" y="8"/>
                    <a:pt x="74" y="19"/>
                    <a:pt x="58" y="35"/>
                  </a:cubicBezTo>
                  <a:cubicBezTo>
                    <a:pt x="17" y="74"/>
                    <a:pt x="0" y="127"/>
                    <a:pt x="12" y="165"/>
                  </a:cubicBez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Freeform 18"/>
            <p:cNvSpPr/>
            <p:nvPr/>
          </p:nvSpPr>
          <p:spPr bwMode="auto">
            <a:xfrm>
              <a:off x="3654425" y="3552825"/>
              <a:ext cx="392113" cy="339725"/>
            </a:xfrm>
            <a:custGeom>
              <a:avLst/>
              <a:gdLst>
                <a:gd name="T0" fmla="*/ 39 w 39"/>
                <a:gd name="T1" fmla="*/ 34 h 34"/>
                <a:gd name="T2" fmla="*/ 6 w 39"/>
                <a:gd name="T3" fmla="*/ 0 h 34"/>
                <a:gd name="T4" fmla="*/ 1 w 39"/>
                <a:gd name="T5" fmla="*/ 0 h 34"/>
                <a:gd name="T6" fmla="*/ 0 w 39"/>
                <a:gd name="T7" fmla="*/ 0 h 34"/>
                <a:gd name="T8" fmla="*/ 13 w 39"/>
                <a:gd name="T9" fmla="*/ 18 h 34"/>
                <a:gd name="T10" fmla="*/ 39 w 39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34">
                  <a:moveTo>
                    <a:pt x="39" y="34"/>
                  </a:moveTo>
                  <a:cubicBezTo>
                    <a:pt x="20" y="25"/>
                    <a:pt x="12" y="13"/>
                    <a:pt x="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7"/>
                    <a:pt x="7" y="13"/>
                    <a:pt x="13" y="18"/>
                  </a:cubicBezTo>
                  <a:cubicBezTo>
                    <a:pt x="20" y="25"/>
                    <a:pt x="29" y="31"/>
                    <a:pt x="39" y="34"/>
                  </a:cubicBezTo>
                  <a:close/>
                </a:path>
              </a:pathLst>
            </a:custGeom>
            <a:gradFill rotWithShape="1">
              <a:gsLst>
                <a:gs pos="0">
                  <a:srgbClr val="808080"/>
                </a:gs>
                <a:gs pos="100000">
                  <a:srgbClr val="B2B2B2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Freeform 19"/>
            <p:cNvSpPr/>
            <p:nvPr/>
          </p:nvSpPr>
          <p:spPr bwMode="auto">
            <a:xfrm>
              <a:off x="4724400" y="1631950"/>
              <a:ext cx="1071563" cy="460375"/>
            </a:xfrm>
            <a:custGeom>
              <a:avLst/>
              <a:gdLst>
                <a:gd name="T0" fmla="*/ 0 w 107"/>
                <a:gd name="T1" fmla="*/ 12 h 46"/>
                <a:gd name="T2" fmla="*/ 0 w 107"/>
                <a:gd name="T3" fmla="*/ 12 h 46"/>
                <a:gd name="T4" fmla="*/ 6 w 107"/>
                <a:gd name="T5" fmla="*/ 21 h 46"/>
                <a:gd name="T6" fmla="*/ 107 w 107"/>
                <a:gd name="T7" fmla="*/ 46 h 46"/>
                <a:gd name="T8" fmla="*/ 94 w 107"/>
                <a:gd name="T9" fmla="*/ 27 h 46"/>
                <a:gd name="T10" fmla="*/ 0 w 107"/>
                <a:gd name="T11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46">
                  <a:moveTo>
                    <a:pt x="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0" y="3"/>
                    <a:pt x="92" y="27"/>
                    <a:pt x="107" y="46"/>
                  </a:cubicBezTo>
                  <a:cubicBezTo>
                    <a:pt x="104" y="39"/>
                    <a:pt x="100" y="32"/>
                    <a:pt x="94" y="27"/>
                  </a:cubicBezTo>
                  <a:cubicBezTo>
                    <a:pt x="72" y="4"/>
                    <a:pt x="37" y="0"/>
                    <a:pt x="0" y="12"/>
                  </a:cubicBezTo>
                  <a:close/>
                </a:path>
              </a:pathLst>
            </a:custGeom>
            <a:gradFill rotWithShape="1">
              <a:gsLst>
                <a:gs pos="0">
                  <a:srgbClr val="333333"/>
                </a:gs>
                <a:gs pos="100000">
                  <a:srgbClr val="B2B2B2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5802313" y="987574"/>
            <a:ext cx="27368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r">
              <a:lnSpc>
                <a:spcPct val="120000"/>
              </a:lnSpc>
            </a:pPr>
            <a:r>
              <a:rPr lang="zh-CN" altLang="en-US" sz="16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文字内容</a:t>
            </a:r>
            <a:endParaRPr lang="zh-CN" altLang="en-US" sz="16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0" name="Line 21"/>
          <p:cNvSpPr>
            <a:spLocks noChangeShapeType="1"/>
          </p:cNvSpPr>
          <p:nvPr/>
        </p:nvSpPr>
        <p:spPr bwMode="auto">
          <a:xfrm>
            <a:off x="544513" y="2763639"/>
            <a:ext cx="281940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2" name="Line 23"/>
          <p:cNvSpPr>
            <a:spLocks noChangeShapeType="1"/>
          </p:cNvSpPr>
          <p:nvPr/>
        </p:nvSpPr>
        <p:spPr bwMode="auto">
          <a:xfrm>
            <a:off x="5726113" y="1376164"/>
            <a:ext cx="2743200" cy="0"/>
          </a:xfrm>
          <a:prstGeom prst="line">
            <a:avLst/>
          </a:prstGeom>
          <a:noFill/>
          <a:ln w="12700">
            <a:solidFill>
              <a:schemeClr val="tx2">
                <a:lumMod val="50000"/>
              </a:schemeClr>
            </a:solidFill>
            <a:round/>
            <a:head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Rectangle 24"/>
          <p:cNvSpPr>
            <a:spLocks noChangeArrowheads="1"/>
          </p:cNvSpPr>
          <p:nvPr/>
        </p:nvSpPr>
        <p:spPr bwMode="auto">
          <a:xfrm>
            <a:off x="468313" y="2763639"/>
            <a:ext cx="2286000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200" b="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段落文字内容</a:t>
            </a:r>
            <a:endParaRPr lang="zh-CN" altLang="en-US" sz="1200" b="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200" b="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段落文字内容</a:t>
            </a:r>
            <a:endParaRPr lang="zh-CN" altLang="en-US" sz="1200" b="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5" name="Rectangle 26"/>
          <p:cNvSpPr>
            <a:spLocks noChangeArrowheads="1"/>
          </p:cNvSpPr>
          <p:nvPr/>
        </p:nvSpPr>
        <p:spPr bwMode="auto">
          <a:xfrm>
            <a:off x="468313" y="2442964"/>
            <a:ext cx="22161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zh-CN" altLang="en-US" sz="1600" dirty="0">
                <a:solidFill>
                  <a:schemeClr val="accent2"/>
                </a:solidFill>
                <a:ea typeface="微软雅黑" panose="020B0503020204020204" pitchFamily="34" charset="-122"/>
              </a:rPr>
              <a:t>单击此处添加文字内容</a:t>
            </a:r>
            <a:endParaRPr lang="zh-CN" altLang="en-US" sz="1600" dirty="0">
              <a:solidFill>
                <a:schemeClr val="accent2"/>
              </a:solidFill>
              <a:ea typeface="微软雅黑" panose="020B0503020204020204" pitchFamily="34" charset="-122"/>
            </a:endParaRPr>
          </a:p>
        </p:txBody>
      </p:sp>
      <p:sp>
        <p:nvSpPr>
          <p:cNvPr id="26" name="Rectangle 27"/>
          <p:cNvSpPr>
            <a:spLocks noChangeArrowheads="1"/>
          </p:cNvSpPr>
          <p:nvPr/>
        </p:nvSpPr>
        <p:spPr bwMode="auto">
          <a:xfrm>
            <a:off x="6335713" y="1422201"/>
            <a:ext cx="2209800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1200" b="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段落文字内容</a:t>
            </a:r>
            <a:endParaRPr lang="zh-CN" altLang="en-US" sz="1200" b="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200" b="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段落文字内容</a:t>
            </a:r>
            <a:endParaRPr lang="zh-CN" altLang="en-US" sz="1200" b="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8" name="Rectangle 20"/>
          <p:cNvSpPr>
            <a:spLocks noChangeArrowheads="1"/>
          </p:cNvSpPr>
          <p:nvPr/>
        </p:nvSpPr>
        <p:spPr bwMode="auto">
          <a:xfrm>
            <a:off x="5802313" y="3084314"/>
            <a:ext cx="27368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r">
              <a:lnSpc>
                <a:spcPct val="120000"/>
              </a:lnSpc>
            </a:pPr>
            <a:r>
              <a:rPr lang="zh-CN" altLang="en-US" sz="16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文字内容</a:t>
            </a:r>
            <a:endParaRPr lang="zh-CN" altLang="en-US" sz="16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9" name="Line 23"/>
          <p:cNvSpPr>
            <a:spLocks noChangeShapeType="1"/>
          </p:cNvSpPr>
          <p:nvPr/>
        </p:nvSpPr>
        <p:spPr bwMode="auto">
          <a:xfrm>
            <a:off x="5726113" y="3465314"/>
            <a:ext cx="2743200" cy="0"/>
          </a:xfrm>
          <a:prstGeom prst="line">
            <a:avLst/>
          </a:prstGeom>
          <a:noFill/>
          <a:ln w="12700">
            <a:solidFill>
              <a:schemeClr val="tx2">
                <a:lumMod val="50000"/>
              </a:schemeClr>
            </a:solidFill>
            <a:round/>
            <a:head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Rectangle 27"/>
          <p:cNvSpPr>
            <a:spLocks noChangeArrowheads="1"/>
          </p:cNvSpPr>
          <p:nvPr/>
        </p:nvSpPr>
        <p:spPr bwMode="auto">
          <a:xfrm>
            <a:off x="6335713" y="3511351"/>
            <a:ext cx="2209800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1200" b="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段落文字内容</a:t>
            </a:r>
            <a:endParaRPr lang="zh-CN" altLang="en-US" sz="1200" b="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200" b="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段落文字内容</a:t>
            </a:r>
            <a:endParaRPr lang="zh-CN" altLang="en-US" sz="1200" b="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 animBg="1"/>
      <p:bldP spid="22" grpId="0" animBg="1"/>
      <p:bldP spid="23" grpId="0"/>
      <p:bldP spid="25" grpId="0"/>
      <p:bldP spid="26" grpId="0"/>
      <p:bldP spid="28" grpId="0"/>
      <p:bldP spid="29" grpId="0" animBg="1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3097213" y="1515467"/>
            <a:ext cx="828675" cy="2016125"/>
            <a:chOff x="3097213" y="1779951"/>
            <a:chExt cx="828675" cy="2016125"/>
          </a:xfrm>
        </p:grpSpPr>
        <p:sp>
          <p:nvSpPr>
            <p:cNvPr id="35" name="Freeform 11"/>
            <p:cNvSpPr/>
            <p:nvPr/>
          </p:nvSpPr>
          <p:spPr bwMode="auto">
            <a:xfrm>
              <a:off x="3097213" y="1779951"/>
              <a:ext cx="828675" cy="2016125"/>
            </a:xfrm>
            <a:custGeom>
              <a:avLst/>
              <a:gdLst>
                <a:gd name="T0" fmla="*/ 379 w 379"/>
                <a:gd name="T1" fmla="*/ 458 h 916"/>
                <a:gd name="T2" fmla="*/ 190 w 379"/>
                <a:gd name="T3" fmla="*/ 0 h 916"/>
                <a:gd name="T4" fmla="*/ 0 w 379"/>
                <a:gd name="T5" fmla="*/ 458 h 916"/>
                <a:gd name="T6" fmla="*/ 190 w 379"/>
                <a:gd name="T7" fmla="*/ 916 h 916"/>
                <a:gd name="T8" fmla="*/ 379 w 379"/>
                <a:gd name="T9" fmla="*/ 458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916">
                  <a:moveTo>
                    <a:pt x="379" y="458"/>
                  </a:moveTo>
                  <a:cubicBezTo>
                    <a:pt x="379" y="279"/>
                    <a:pt x="307" y="117"/>
                    <a:pt x="190" y="0"/>
                  </a:cubicBezTo>
                  <a:cubicBezTo>
                    <a:pt x="72" y="117"/>
                    <a:pt x="0" y="279"/>
                    <a:pt x="0" y="458"/>
                  </a:cubicBezTo>
                  <a:cubicBezTo>
                    <a:pt x="0" y="637"/>
                    <a:pt x="72" y="798"/>
                    <a:pt x="190" y="916"/>
                  </a:cubicBezTo>
                  <a:cubicBezTo>
                    <a:pt x="307" y="798"/>
                    <a:pt x="379" y="637"/>
                    <a:pt x="379" y="458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100000">
                  <a:srgbClr val="4D4D4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8" name="Freeform 14"/>
            <p:cNvSpPr/>
            <p:nvPr/>
          </p:nvSpPr>
          <p:spPr bwMode="auto">
            <a:xfrm>
              <a:off x="3187700" y="1845039"/>
              <a:ext cx="641350" cy="568325"/>
            </a:xfrm>
            <a:custGeom>
              <a:avLst/>
              <a:gdLst>
                <a:gd name="T0" fmla="*/ 172 w 343"/>
                <a:gd name="T1" fmla="*/ 0 h 305"/>
                <a:gd name="T2" fmla="*/ 0 w 343"/>
                <a:gd name="T3" fmla="*/ 305 h 305"/>
                <a:gd name="T4" fmla="*/ 343 w 343"/>
                <a:gd name="T5" fmla="*/ 305 h 305"/>
                <a:gd name="T6" fmla="*/ 172 w 343"/>
                <a:gd name="T7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305">
                  <a:moveTo>
                    <a:pt x="172" y="0"/>
                  </a:moveTo>
                  <a:cubicBezTo>
                    <a:pt x="89" y="83"/>
                    <a:pt x="29" y="188"/>
                    <a:pt x="0" y="305"/>
                  </a:cubicBezTo>
                  <a:cubicBezTo>
                    <a:pt x="343" y="305"/>
                    <a:pt x="343" y="305"/>
                    <a:pt x="343" y="305"/>
                  </a:cubicBezTo>
                  <a:cubicBezTo>
                    <a:pt x="315" y="188"/>
                    <a:pt x="254" y="83"/>
                    <a:pt x="172" y="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5205413" y="1515467"/>
            <a:ext cx="827087" cy="2014538"/>
            <a:chOff x="5205413" y="1779951"/>
            <a:chExt cx="827087" cy="2014538"/>
          </a:xfrm>
        </p:grpSpPr>
        <p:sp>
          <p:nvSpPr>
            <p:cNvPr id="34" name="Freeform 10"/>
            <p:cNvSpPr/>
            <p:nvPr/>
          </p:nvSpPr>
          <p:spPr bwMode="auto">
            <a:xfrm>
              <a:off x="5205413" y="1779951"/>
              <a:ext cx="827087" cy="2014538"/>
            </a:xfrm>
            <a:custGeom>
              <a:avLst/>
              <a:gdLst>
                <a:gd name="T0" fmla="*/ 189 w 378"/>
                <a:gd name="T1" fmla="*/ 0 h 915"/>
                <a:gd name="T2" fmla="*/ 0 w 378"/>
                <a:gd name="T3" fmla="*/ 458 h 915"/>
                <a:gd name="T4" fmla="*/ 189 w 378"/>
                <a:gd name="T5" fmla="*/ 915 h 915"/>
                <a:gd name="T6" fmla="*/ 378 w 378"/>
                <a:gd name="T7" fmla="*/ 458 h 915"/>
                <a:gd name="T8" fmla="*/ 189 w 378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" h="915">
                  <a:moveTo>
                    <a:pt x="189" y="0"/>
                  </a:moveTo>
                  <a:cubicBezTo>
                    <a:pt x="72" y="118"/>
                    <a:pt x="0" y="279"/>
                    <a:pt x="0" y="458"/>
                  </a:cubicBezTo>
                  <a:cubicBezTo>
                    <a:pt x="0" y="636"/>
                    <a:pt x="72" y="798"/>
                    <a:pt x="189" y="915"/>
                  </a:cubicBezTo>
                  <a:cubicBezTo>
                    <a:pt x="306" y="798"/>
                    <a:pt x="378" y="636"/>
                    <a:pt x="378" y="458"/>
                  </a:cubicBezTo>
                  <a:cubicBezTo>
                    <a:pt x="378" y="279"/>
                    <a:pt x="306" y="118"/>
                    <a:pt x="18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100000">
                  <a:srgbClr val="4D4D4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" name="Freeform 15"/>
            <p:cNvSpPr/>
            <p:nvPr/>
          </p:nvSpPr>
          <p:spPr bwMode="auto">
            <a:xfrm>
              <a:off x="5292725" y="1845039"/>
              <a:ext cx="641350" cy="568325"/>
            </a:xfrm>
            <a:custGeom>
              <a:avLst/>
              <a:gdLst>
                <a:gd name="T0" fmla="*/ 172 w 343"/>
                <a:gd name="T1" fmla="*/ 0 h 305"/>
                <a:gd name="T2" fmla="*/ 0 w 343"/>
                <a:gd name="T3" fmla="*/ 305 h 305"/>
                <a:gd name="T4" fmla="*/ 343 w 343"/>
                <a:gd name="T5" fmla="*/ 305 h 305"/>
                <a:gd name="T6" fmla="*/ 172 w 343"/>
                <a:gd name="T7" fmla="*/ 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305">
                  <a:moveTo>
                    <a:pt x="172" y="0"/>
                  </a:moveTo>
                  <a:cubicBezTo>
                    <a:pt x="89" y="83"/>
                    <a:pt x="29" y="188"/>
                    <a:pt x="0" y="305"/>
                  </a:cubicBezTo>
                  <a:cubicBezTo>
                    <a:pt x="343" y="305"/>
                    <a:pt x="343" y="305"/>
                    <a:pt x="343" y="305"/>
                  </a:cubicBezTo>
                  <a:cubicBezTo>
                    <a:pt x="315" y="188"/>
                    <a:pt x="254" y="83"/>
                    <a:pt x="172" y="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668963" y="1099542"/>
            <a:ext cx="2417762" cy="3200400"/>
            <a:chOff x="5668963" y="1364026"/>
            <a:chExt cx="2417762" cy="3200400"/>
          </a:xfrm>
        </p:grpSpPr>
        <p:sp>
          <p:nvSpPr>
            <p:cNvPr id="29" name="Oval 5"/>
            <p:cNvSpPr>
              <a:spLocks noChangeArrowheads="1"/>
            </p:cNvSpPr>
            <p:nvPr/>
          </p:nvSpPr>
          <p:spPr bwMode="auto">
            <a:xfrm>
              <a:off x="5683250" y="3726226"/>
              <a:ext cx="1968500" cy="838200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445E7A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32" name="Freeform 8"/>
            <p:cNvSpPr/>
            <p:nvPr/>
          </p:nvSpPr>
          <p:spPr bwMode="gray">
            <a:xfrm>
              <a:off x="5668963" y="1364026"/>
              <a:ext cx="2417762" cy="2847975"/>
            </a:xfrm>
            <a:custGeom>
              <a:avLst/>
              <a:gdLst>
                <a:gd name="T0" fmla="*/ 190 w 1105"/>
                <a:gd name="T1" fmla="*/ 648 h 1295"/>
                <a:gd name="T2" fmla="*/ 0 w 1105"/>
                <a:gd name="T3" fmla="*/ 190 h 1295"/>
                <a:gd name="T4" fmla="*/ 458 w 1105"/>
                <a:gd name="T5" fmla="*/ 0 h 1295"/>
                <a:gd name="T6" fmla="*/ 1105 w 1105"/>
                <a:gd name="T7" fmla="*/ 648 h 1295"/>
                <a:gd name="T8" fmla="*/ 458 w 1105"/>
                <a:gd name="T9" fmla="*/ 1295 h 1295"/>
                <a:gd name="T10" fmla="*/ 0 w 1105"/>
                <a:gd name="T11" fmla="*/ 1106 h 1295"/>
                <a:gd name="T12" fmla="*/ 190 w 1105"/>
                <a:gd name="T13" fmla="*/ 648 h 1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5" h="1295">
                  <a:moveTo>
                    <a:pt x="190" y="648"/>
                  </a:moveTo>
                  <a:cubicBezTo>
                    <a:pt x="190" y="469"/>
                    <a:pt x="117" y="307"/>
                    <a:pt x="0" y="190"/>
                  </a:cubicBezTo>
                  <a:cubicBezTo>
                    <a:pt x="117" y="73"/>
                    <a:pt x="279" y="0"/>
                    <a:pt x="458" y="0"/>
                  </a:cubicBezTo>
                  <a:cubicBezTo>
                    <a:pt x="815" y="0"/>
                    <a:pt x="1105" y="290"/>
                    <a:pt x="1105" y="648"/>
                  </a:cubicBezTo>
                  <a:cubicBezTo>
                    <a:pt x="1105" y="1005"/>
                    <a:pt x="815" y="1295"/>
                    <a:pt x="458" y="1295"/>
                  </a:cubicBezTo>
                  <a:cubicBezTo>
                    <a:pt x="279" y="1295"/>
                    <a:pt x="117" y="1223"/>
                    <a:pt x="0" y="1106"/>
                  </a:cubicBezTo>
                  <a:cubicBezTo>
                    <a:pt x="117" y="988"/>
                    <a:pt x="190" y="827"/>
                    <a:pt x="190" y="648"/>
                  </a:cubicBezTo>
                  <a:close/>
                </a:path>
              </a:pathLst>
            </a:custGeom>
            <a:gradFill rotWithShape="1">
              <a:gsLst>
                <a:gs pos="0">
                  <a:srgbClr val="F8F8F8"/>
                </a:gs>
                <a:gs pos="100000">
                  <a:srgbClr val="C0C0C0"/>
                </a:gs>
              </a:gsLst>
              <a:lin ang="2700000" scaled="1"/>
            </a:gradFill>
            <a:ln w="9525" cap="flat" cmpd="sng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pic>
          <p:nvPicPr>
            <p:cNvPr id="36" name="Picture 12" descr="图片3副本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525" y="1383076"/>
              <a:ext cx="2057400" cy="1030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1" name="Group 17"/>
            <p:cNvGrpSpPr/>
            <p:nvPr/>
          </p:nvGrpSpPr>
          <p:grpSpPr bwMode="auto">
            <a:xfrm rot="-900000" flipH="1" flipV="1">
              <a:off x="5794375" y="3719876"/>
              <a:ext cx="1893888" cy="417513"/>
              <a:chOff x="1565" y="2568"/>
              <a:chExt cx="1118" cy="279"/>
            </a:xfrm>
          </p:grpSpPr>
          <p:sp>
            <p:nvSpPr>
              <p:cNvPr id="42" name="AutoShape 18"/>
              <p:cNvSpPr>
                <a:spLocks noChangeArrowheads="1"/>
              </p:cNvSpPr>
              <p:nvPr/>
            </p:nvSpPr>
            <p:spPr bwMode="ltGray">
              <a:xfrm rot="5263130">
                <a:off x="1859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3" name="AutoShape 19"/>
              <p:cNvSpPr>
                <a:spLocks noChangeArrowheads="1"/>
              </p:cNvSpPr>
              <p:nvPr/>
            </p:nvSpPr>
            <p:spPr bwMode="ltGray">
              <a:xfrm rot="6078281">
                <a:off x="1995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4" name="AutoShape 20"/>
              <p:cNvSpPr>
                <a:spLocks noChangeArrowheads="1"/>
              </p:cNvSpPr>
              <p:nvPr/>
            </p:nvSpPr>
            <p:spPr bwMode="ltGray">
              <a:xfrm rot="6373927">
                <a:off x="2071" y="229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5" name="AutoShape 21"/>
              <p:cNvSpPr>
                <a:spLocks noChangeArrowheads="1"/>
              </p:cNvSpPr>
              <p:nvPr/>
            </p:nvSpPr>
            <p:spPr bwMode="ltGray">
              <a:xfrm rot="6906312">
                <a:off x="2161" y="232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7" name="组合 6"/>
          <p:cNvGrpSpPr/>
          <p:nvPr/>
        </p:nvGrpSpPr>
        <p:grpSpPr>
          <a:xfrm>
            <a:off x="1044575" y="1099542"/>
            <a:ext cx="2416175" cy="3200400"/>
            <a:chOff x="1044575" y="1364026"/>
            <a:chExt cx="2416175" cy="3200400"/>
          </a:xfrm>
        </p:grpSpPr>
        <p:grpSp>
          <p:nvGrpSpPr>
            <p:cNvPr id="2" name="组合 1"/>
            <p:cNvGrpSpPr/>
            <p:nvPr/>
          </p:nvGrpSpPr>
          <p:grpSpPr>
            <a:xfrm>
              <a:off x="1044575" y="1364026"/>
              <a:ext cx="2416175" cy="3200400"/>
              <a:chOff x="1044575" y="1364026"/>
              <a:chExt cx="2416175" cy="3200400"/>
            </a:xfrm>
          </p:grpSpPr>
          <p:sp>
            <p:nvSpPr>
              <p:cNvPr id="30" name="Oval 6"/>
              <p:cNvSpPr>
                <a:spLocks noChangeArrowheads="1"/>
              </p:cNvSpPr>
              <p:nvPr/>
            </p:nvSpPr>
            <p:spPr bwMode="auto">
              <a:xfrm>
                <a:off x="1463675" y="3726226"/>
                <a:ext cx="1968500" cy="838200"/>
              </a:xfrm>
              <a:prstGeom prst="ellipse">
                <a:avLst/>
              </a:prstGeom>
              <a:gradFill rotWithShape="1">
                <a:gsLst>
                  <a:gs pos="0">
                    <a:srgbClr val="000000"/>
                  </a:gs>
                  <a:gs pos="100000">
                    <a:srgbClr val="445E7A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31" name="Freeform 7"/>
              <p:cNvSpPr/>
              <p:nvPr/>
            </p:nvSpPr>
            <p:spPr bwMode="gray">
              <a:xfrm>
                <a:off x="1044575" y="1364026"/>
                <a:ext cx="2416175" cy="2847975"/>
              </a:xfrm>
              <a:custGeom>
                <a:avLst/>
                <a:gdLst>
                  <a:gd name="T0" fmla="*/ 915 w 1105"/>
                  <a:gd name="T1" fmla="*/ 648 h 1295"/>
                  <a:gd name="T2" fmla="*/ 1105 w 1105"/>
                  <a:gd name="T3" fmla="*/ 190 h 1295"/>
                  <a:gd name="T4" fmla="*/ 647 w 1105"/>
                  <a:gd name="T5" fmla="*/ 0 h 1295"/>
                  <a:gd name="T6" fmla="*/ 0 w 1105"/>
                  <a:gd name="T7" fmla="*/ 648 h 1295"/>
                  <a:gd name="T8" fmla="*/ 647 w 1105"/>
                  <a:gd name="T9" fmla="*/ 1295 h 1295"/>
                  <a:gd name="T10" fmla="*/ 1105 w 1105"/>
                  <a:gd name="T11" fmla="*/ 1106 h 1295"/>
                  <a:gd name="T12" fmla="*/ 915 w 1105"/>
                  <a:gd name="T13" fmla="*/ 648 h 1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05" h="1295">
                    <a:moveTo>
                      <a:pt x="915" y="648"/>
                    </a:moveTo>
                    <a:cubicBezTo>
                      <a:pt x="915" y="469"/>
                      <a:pt x="987" y="307"/>
                      <a:pt x="1105" y="190"/>
                    </a:cubicBezTo>
                    <a:cubicBezTo>
                      <a:pt x="988" y="73"/>
                      <a:pt x="826" y="0"/>
                      <a:pt x="647" y="0"/>
                    </a:cubicBezTo>
                    <a:cubicBezTo>
                      <a:pt x="289" y="0"/>
                      <a:pt x="0" y="290"/>
                      <a:pt x="0" y="648"/>
                    </a:cubicBezTo>
                    <a:cubicBezTo>
                      <a:pt x="0" y="1005"/>
                      <a:pt x="289" y="1295"/>
                      <a:pt x="647" y="1295"/>
                    </a:cubicBezTo>
                    <a:cubicBezTo>
                      <a:pt x="826" y="1295"/>
                      <a:pt x="988" y="1223"/>
                      <a:pt x="1105" y="1106"/>
                    </a:cubicBezTo>
                    <a:cubicBezTo>
                      <a:pt x="987" y="988"/>
                      <a:pt x="915" y="827"/>
                      <a:pt x="915" y="648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8F8F8"/>
                  </a:gs>
                  <a:gs pos="100000">
                    <a:srgbClr val="C0C0C0"/>
                  </a:gs>
                </a:gsLst>
                <a:lin ang="2700000" scaled="1"/>
              </a:gradFill>
              <a:ln w="9525" cap="flat" cmpd="sng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37" name="Picture 13" descr="图片3副本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73188" y="1383076"/>
                <a:ext cx="2057400" cy="10302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22"/>
            <p:cNvGrpSpPr/>
            <p:nvPr/>
          </p:nvGrpSpPr>
          <p:grpSpPr bwMode="auto">
            <a:xfrm rot="-392157" flipH="1" flipV="1">
              <a:off x="1436688" y="3729401"/>
              <a:ext cx="1865312" cy="411163"/>
              <a:chOff x="1565" y="2568"/>
              <a:chExt cx="1118" cy="279"/>
            </a:xfrm>
          </p:grpSpPr>
          <p:sp>
            <p:nvSpPr>
              <p:cNvPr id="47" name="AutoShape 23"/>
              <p:cNvSpPr>
                <a:spLocks noChangeArrowheads="1"/>
              </p:cNvSpPr>
              <p:nvPr/>
            </p:nvSpPr>
            <p:spPr bwMode="ltGray">
              <a:xfrm rot="5263130">
                <a:off x="1859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8" name="AutoShape 24"/>
              <p:cNvSpPr>
                <a:spLocks noChangeArrowheads="1"/>
              </p:cNvSpPr>
              <p:nvPr/>
            </p:nvSpPr>
            <p:spPr bwMode="ltGray">
              <a:xfrm rot="6078281">
                <a:off x="1995" y="2274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9" name="AutoShape 25"/>
              <p:cNvSpPr>
                <a:spLocks noChangeArrowheads="1"/>
              </p:cNvSpPr>
              <p:nvPr/>
            </p:nvSpPr>
            <p:spPr bwMode="ltGray">
              <a:xfrm rot="6373927">
                <a:off x="2071" y="229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50" name="AutoShape 26"/>
              <p:cNvSpPr>
                <a:spLocks noChangeArrowheads="1"/>
              </p:cNvSpPr>
              <p:nvPr/>
            </p:nvSpPr>
            <p:spPr bwMode="ltGray">
              <a:xfrm rot="6906312">
                <a:off x="2161" y="2326"/>
                <a:ext cx="227" cy="816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</p:grpSp>
      <p:grpSp>
        <p:nvGrpSpPr>
          <p:cNvPr id="8" name="组合 7"/>
          <p:cNvGrpSpPr/>
          <p:nvPr/>
        </p:nvGrpSpPr>
        <p:grpSpPr>
          <a:xfrm>
            <a:off x="3563938" y="1099542"/>
            <a:ext cx="2085975" cy="3200400"/>
            <a:chOff x="3563938" y="1364026"/>
            <a:chExt cx="2085975" cy="3200400"/>
          </a:xfrm>
        </p:grpSpPr>
        <p:sp>
          <p:nvSpPr>
            <p:cNvPr id="28" name="Oval 4"/>
            <p:cNvSpPr>
              <a:spLocks noChangeArrowheads="1"/>
            </p:cNvSpPr>
            <p:nvPr/>
          </p:nvSpPr>
          <p:spPr bwMode="auto">
            <a:xfrm>
              <a:off x="3573463" y="3726226"/>
              <a:ext cx="1968500" cy="838200"/>
            </a:xfrm>
            <a:prstGeom prst="ellipse">
              <a:avLst/>
            </a:prstGeom>
            <a:gradFill rotWithShape="1">
              <a:gsLst>
                <a:gs pos="0">
                  <a:srgbClr val="000000"/>
                </a:gs>
                <a:gs pos="100000">
                  <a:srgbClr val="445E7A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grpSp>
          <p:nvGrpSpPr>
            <p:cNvPr id="4" name="组合 3"/>
            <p:cNvGrpSpPr/>
            <p:nvPr/>
          </p:nvGrpSpPr>
          <p:grpSpPr>
            <a:xfrm>
              <a:off x="3563938" y="1364026"/>
              <a:ext cx="2085975" cy="2847975"/>
              <a:chOff x="3563938" y="1364026"/>
              <a:chExt cx="2085975" cy="2847975"/>
            </a:xfrm>
          </p:grpSpPr>
          <p:sp>
            <p:nvSpPr>
              <p:cNvPr id="33" name="Freeform 9"/>
              <p:cNvSpPr/>
              <p:nvPr/>
            </p:nvSpPr>
            <p:spPr bwMode="gray">
              <a:xfrm>
                <a:off x="3563938" y="1364026"/>
                <a:ext cx="2003425" cy="2847975"/>
              </a:xfrm>
              <a:custGeom>
                <a:avLst/>
                <a:gdLst>
                  <a:gd name="T0" fmla="*/ 916 w 916"/>
                  <a:gd name="T1" fmla="*/ 190 h 1295"/>
                  <a:gd name="T2" fmla="*/ 457 w 916"/>
                  <a:gd name="T3" fmla="*/ 0 h 1295"/>
                  <a:gd name="T4" fmla="*/ 0 w 916"/>
                  <a:gd name="T5" fmla="*/ 190 h 1295"/>
                  <a:gd name="T6" fmla="*/ 189 w 916"/>
                  <a:gd name="T7" fmla="*/ 648 h 1295"/>
                  <a:gd name="T8" fmla="*/ 0 w 916"/>
                  <a:gd name="T9" fmla="*/ 1106 h 1295"/>
                  <a:gd name="T10" fmla="*/ 457 w 916"/>
                  <a:gd name="T11" fmla="*/ 1295 h 1295"/>
                  <a:gd name="T12" fmla="*/ 916 w 916"/>
                  <a:gd name="T13" fmla="*/ 1105 h 1295"/>
                  <a:gd name="T14" fmla="*/ 727 w 916"/>
                  <a:gd name="T15" fmla="*/ 648 h 1295"/>
                  <a:gd name="T16" fmla="*/ 916 w 916"/>
                  <a:gd name="T17" fmla="*/ 190 h 1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6" h="1295">
                    <a:moveTo>
                      <a:pt x="916" y="190"/>
                    </a:moveTo>
                    <a:cubicBezTo>
                      <a:pt x="798" y="73"/>
                      <a:pt x="636" y="0"/>
                      <a:pt x="457" y="0"/>
                    </a:cubicBezTo>
                    <a:cubicBezTo>
                      <a:pt x="279" y="0"/>
                      <a:pt x="117" y="73"/>
                      <a:pt x="0" y="190"/>
                    </a:cubicBezTo>
                    <a:cubicBezTo>
                      <a:pt x="117" y="307"/>
                      <a:pt x="189" y="469"/>
                      <a:pt x="189" y="648"/>
                    </a:cubicBezTo>
                    <a:cubicBezTo>
                      <a:pt x="189" y="827"/>
                      <a:pt x="117" y="988"/>
                      <a:pt x="0" y="1106"/>
                    </a:cubicBezTo>
                    <a:cubicBezTo>
                      <a:pt x="117" y="1223"/>
                      <a:pt x="279" y="1295"/>
                      <a:pt x="457" y="1295"/>
                    </a:cubicBezTo>
                    <a:cubicBezTo>
                      <a:pt x="636" y="1295"/>
                      <a:pt x="798" y="1222"/>
                      <a:pt x="916" y="1105"/>
                    </a:cubicBezTo>
                    <a:cubicBezTo>
                      <a:pt x="799" y="988"/>
                      <a:pt x="727" y="826"/>
                      <a:pt x="727" y="648"/>
                    </a:cubicBezTo>
                    <a:cubicBezTo>
                      <a:pt x="727" y="469"/>
                      <a:pt x="799" y="308"/>
                      <a:pt x="916" y="19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1"/>
                  </a:gs>
                  <a:gs pos="100000">
                    <a:schemeClr val="hlink"/>
                  </a:gs>
                </a:gsLst>
                <a:lin ang="2700000" scaled="1"/>
              </a:gradFill>
              <a:ln w="9525" cap="flat" cmpd="sng">
                <a:solidFill>
                  <a:schemeClr val="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pic>
            <p:nvPicPr>
              <p:cNvPr id="40" name="Picture 16" descr="图片3副本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21540000">
                <a:off x="3578225" y="1365614"/>
                <a:ext cx="2071688" cy="10366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51" name="Group 27"/>
              <p:cNvGrpSpPr/>
              <p:nvPr/>
            </p:nvGrpSpPr>
            <p:grpSpPr bwMode="auto">
              <a:xfrm rot="-636047" flipH="1" flipV="1">
                <a:off x="3721100" y="3775439"/>
                <a:ext cx="1651000" cy="361950"/>
                <a:chOff x="1565" y="2568"/>
                <a:chExt cx="1118" cy="279"/>
              </a:xfrm>
            </p:grpSpPr>
            <p:sp>
              <p:nvSpPr>
                <p:cNvPr id="52" name="AutoShape 28"/>
                <p:cNvSpPr>
                  <a:spLocks noChangeArrowheads="1"/>
                </p:cNvSpPr>
                <p:nvPr/>
              </p:nvSpPr>
              <p:spPr bwMode="lt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AutoShape 29"/>
                <p:cNvSpPr>
                  <a:spLocks noChangeArrowheads="1"/>
                </p:cNvSpPr>
                <p:nvPr/>
              </p:nvSpPr>
              <p:spPr bwMode="lt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AutoShape 30"/>
                <p:cNvSpPr>
                  <a:spLocks noChangeArrowheads="1"/>
                </p:cNvSpPr>
                <p:nvPr/>
              </p:nvSpPr>
              <p:spPr bwMode="lt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AutoShape 31"/>
                <p:cNvSpPr>
                  <a:spLocks noChangeArrowheads="1"/>
                </p:cNvSpPr>
                <p:nvPr/>
              </p:nvSpPr>
              <p:spPr bwMode="lt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</p:grpSp>
      <p:sp>
        <p:nvSpPr>
          <p:cNvPr id="56" name="Rectangle 32"/>
          <p:cNvSpPr>
            <a:spLocks noChangeArrowheads="1"/>
          </p:cNvSpPr>
          <p:nvPr/>
        </p:nvSpPr>
        <p:spPr bwMode="auto">
          <a:xfrm>
            <a:off x="3473450" y="2064742"/>
            <a:ext cx="2141538" cy="973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添加文字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添加文字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添加文字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57" name="Rectangle 33"/>
          <p:cNvSpPr>
            <a:spLocks noChangeArrowheads="1"/>
          </p:cNvSpPr>
          <p:nvPr/>
        </p:nvSpPr>
        <p:spPr bwMode="auto">
          <a:xfrm>
            <a:off x="1368425" y="2064742"/>
            <a:ext cx="2195513" cy="973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添加文字</a:t>
            </a:r>
            <a:endParaRPr lang="zh-CN" altLang="en-US" sz="16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添加文字</a:t>
            </a:r>
            <a:endParaRPr lang="zh-CN" altLang="en-US" sz="16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6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添加文字</a:t>
            </a:r>
            <a:endParaRPr lang="zh-CN" altLang="en-US" sz="16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58" name="Rectangle 34"/>
          <p:cNvSpPr>
            <a:spLocks noChangeArrowheads="1"/>
          </p:cNvSpPr>
          <p:nvPr/>
        </p:nvSpPr>
        <p:spPr bwMode="auto">
          <a:xfrm>
            <a:off x="3032125" y="2210792"/>
            <a:ext cx="974725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添加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文字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59" name="Rectangle 35"/>
          <p:cNvSpPr>
            <a:spLocks noChangeArrowheads="1"/>
          </p:cNvSpPr>
          <p:nvPr/>
        </p:nvSpPr>
        <p:spPr bwMode="auto">
          <a:xfrm>
            <a:off x="5545138" y="2064742"/>
            <a:ext cx="2195512" cy="973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160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添加文字</a:t>
            </a:r>
            <a:endParaRPr lang="zh-CN" altLang="en-US" sz="160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60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添加文字</a:t>
            </a:r>
            <a:endParaRPr lang="zh-CN" altLang="en-US" sz="160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160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添加文字</a:t>
            </a:r>
            <a:endParaRPr lang="zh-CN" altLang="en-US" sz="160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60" name="Rectangle 36"/>
          <p:cNvSpPr>
            <a:spLocks noChangeArrowheads="1"/>
          </p:cNvSpPr>
          <p:nvPr/>
        </p:nvSpPr>
        <p:spPr bwMode="auto">
          <a:xfrm>
            <a:off x="5109443" y="2210792"/>
            <a:ext cx="974725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添加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dirty="0">
                <a:solidFill>
                  <a:schemeClr val="bg1"/>
                </a:solidFill>
                <a:ea typeface="微软雅黑" panose="020B0503020204020204" pitchFamily="34" charset="-122"/>
              </a:rPr>
              <a:t>文字</a:t>
            </a:r>
            <a:endParaRPr lang="zh-CN" altLang="en-US" sz="1600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500"/>
                            </p:stCondLst>
                            <p:childTnLst>
                              <p:par>
                                <p:cTn id="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7" grpId="0"/>
      <p:bldP spid="58" grpId="0"/>
      <p:bldP spid="59" grpId="0"/>
      <p:bldP spid="6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7"/>
          <p:cNvSpPr>
            <a:spLocks noChangeArrowheads="1"/>
          </p:cNvSpPr>
          <p:nvPr/>
        </p:nvSpPr>
        <p:spPr bwMode="auto">
          <a:xfrm>
            <a:off x="755278" y="843558"/>
            <a:ext cx="3660775" cy="3663950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hlink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3" name="Oval 39"/>
          <p:cNvSpPr>
            <a:spLocks noChangeArrowheads="1"/>
          </p:cNvSpPr>
          <p:nvPr/>
        </p:nvSpPr>
        <p:spPr bwMode="auto">
          <a:xfrm>
            <a:off x="1093415" y="1497608"/>
            <a:ext cx="2984500" cy="2986087"/>
          </a:xfrm>
          <a:prstGeom prst="ellipse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4" name="Oval 40"/>
          <p:cNvSpPr>
            <a:spLocks noChangeArrowheads="1"/>
          </p:cNvSpPr>
          <p:nvPr/>
        </p:nvSpPr>
        <p:spPr bwMode="auto">
          <a:xfrm>
            <a:off x="1493465" y="2262783"/>
            <a:ext cx="2184400" cy="218440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5" name="Text Box 41"/>
          <p:cNvSpPr txBox="1">
            <a:spLocks noChangeArrowheads="1"/>
          </p:cNvSpPr>
          <p:nvPr/>
        </p:nvSpPr>
        <p:spPr bwMode="auto">
          <a:xfrm>
            <a:off x="2201490" y="1008658"/>
            <a:ext cx="7683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kumimoji="1" lang="en-US" altLang="zh-CN">
                <a:solidFill>
                  <a:schemeClr val="bg1"/>
                </a:solidFill>
                <a:ea typeface="微软雅黑" panose="020B0503020204020204" pitchFamily="34" charset="-122"/>
              </a:rPr>
              <a:t>100%</a:t>
            </a:r>
            <a:endParaRPr kumimoji="1" lang="en-US" altLang="ko-KR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6" name="Text Box 42"/>
          <p:cNvSpPr txBox="1">
            <a:spLocks noChangeArrowheads="1"/>
          </p:cNvSpPr>
          <p:nvPr/>
        </p:nvSpPr>
        <p:spPr bwMode="auto">
          <a:xfrm>
            <a:off x="2264990" y="1734145"/>
            <a:ext cx="6413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kumimoji="1" lang="en-US" altLang="zh-CN">
                <a:solidFill>
                  <a:schemeClr val="bg1"/>
                </a:solidFill>
                <a:ea typeface="微软雅黑" panose="020B0503020204020204" pitchFamily="34" charset="-122"/>
              </a:rPr>
              <a:t>75%</a:t>
            </a:r>
            <a:endParaRPr kumimoji="1" lang="en-US" altLang="ko-KR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7" name="Text Box 43"/>
          <p:cNvSpPr txBox="1">
            <a:spLocks noChangeArrowheads="1"/>
          </p:cNvSpPr>
          <p:nvPr/>
        </p:nvSpPr>
        <p:spPr bwMode="auto">
          <a:xfrm>
            <a:off x="2264990" y="2567583"/>
            <a:ext cx="6413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kumimoji="1" lang="en-US" altLang="zh-CN" dirty="0">
                <a:solidFill>
                  <a:schemeClr val="bg1"/>
                </a:solidFill>
                <a:ea typeface="微软雅黑" panose="020B0503020204020204" pitchFamily="34" charset="-122"/>
              </a:rPr>
              <a:t>50%</a:t>
            </a:r>
            <a:endParaRPr kumimoji="1" lang="en-US" altLang="ko-KR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8" name="Rectangle 44"/>
          <p:cNvSpPr>
            <a:spLocks noChangeArrowheads="1"/>
          </p:cNvSpPr>
          <p:nvPr/>
        </p:nvSpPr>
        <p:spPr bwMode="auto">
          <a:xfrm>
            <a:off x="1982415" y="3153370"/>
            <a:ext cx="12065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kumimoji="1" lang="zh-CN" altLang="en-US" dirty="0">
                <a:solidFill>
                  <a:schemeClr val="bg1"/>
                </a:solidFill>
                <a:ea typeface="微软雅黑" panose="020B0503020204020204" pitchFamily="34" charset="-122"/>
              </a:rPr>
              <a:t>单击此处</a:t>
            </a:r>
            <a:endParaRPr kumimoji="1" lang="zh-CN" altLang="en-US" dirty="0">
              <a:solidFill>
                <a:schemeClr val="bg1"/>
              </a:solidFill>
              <a:ea typeface="微软雅黑" panose="020B0503020204020204" pitchFamily="34" charset="-122"/>
            </a:endParaRPr>
          </a:p>
          <a:p>
            <a:pPr algn="ctr"/>
            <a:r>
              <a:rPr kumimoji="1" lang="zh-CN" altLang="en-US" dirty="0">
                <a:solidFill>
                  <a:schemeClr val="bg1"/>
                </a:solidFill>
                <a:ea typeface="微软雅黑" panose="020B0503020204020204" pitchFamily="34" charset="-122"/>
              </a:rPr>
              <a:t>添加文字</a:t>
            </a:r>
            <a:endParaRPr kumimoji="1" lang="en-US" altLang="ko-KR" dirty="0">
              <a:solidFill>
                <a:schemeClr val="bg1"/>
              </a:solidFill>
              <a:ea typeface="微软雅黑" panose="020B0503020204020204" pitchFamily="34" charset="-122"/>
            </a:endParaRPr>
          </a:p>
        </p:txBody>
      </p:sp>
      <p:sp>
        <p:nvSpPr>
          <p:cNvPr id="9" name="Rectangle 45"/>
          <p:cNvSpPr>
            <a:spLocks noChangeArrowheads="1"/>
          </p:cNvSpPr>
          <p:nvPr/>
        </p:nvSpPr>
        <p:spPr bwMode="auto">
          <a:xfrm>
            <a:off x="6925890" y="1208212"/>
            <a:ext cx="1606550" cy="347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latinLnBrk="1">
              <a:lnSpc>
                <a:spcPct val="120000"/>
              </a:lnSpc>
            </a:pPr>
            <a:r>
              <a:rPr kumimoji="1" lang="zh-CN" altLang="en-US" sz="1400" dirty="0">
                <a:solidFill>
                  <a:schemeClr val="accent2"/>
                </a:solidFill>
                <a:ea typeface="微软雅黑" panose="020B0503020204020204" pitchFamily="34" charset="-122"/>
              </a:rPr>
              <a:t>单击此处添加文字</a:t>
            </a:r>
            <a:endParaRPr kumimoji="1" lang="zh-CN" altLang="en-US" sz="1400" dirty="0">
              <a:solidFill>
                <a:schemeClr val="accent2"/>
              </a:solidFill>
              <a:ea typeface="微软雅黑" panose="020B0503020204020204" pitchFamily="34" charset="-122"/>
            </a:endParaRPr>
          </a:p>
        </p:txBody>
      </p:sp>
      <p:sp>
        <p:nvSpPr>
          <p:cNvPr id="10" name="Line 46"/>
          <p:cNvSpPr>
            <a:spLocks noChangeShapeType="1"/>
          </p:cNvSpPr>
          <p:nvPr/>
        </p:nvSpPr>
        <p:spPr bwMode="auto">
          <a:xfrm>
            <a:off x="3779465" y="1566987"/>
            <a:ext cx="4752975" cy="0"/>
          </a:xfrm>
          <a:prstGeom prst="line">
            <a:avLst/>
          </a:prstGeom>
          <a:noFill/>
          <a:ln w="12700">
            <a:solidFill>
              <a:schemeClr val="tx2">
                <a:lumMod val="50000"/>
              </a:schemeClr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>
              <a:ln>
                <a:solidFill>
                  <a:schemeClr val="tx1">
                    <a:lumMod val="10000"/>
                    <a:lumOff val="90000"/>
                  </a:schemeClr>
                </a:solidFill>
              </a:ln>
            </a:endParaRPr>
          </a:p>
        </p:txBody>
      </p:sp>
      <p:sp>
        <p:nvSpPr>
          <p:cNvPr id="13" name="Rectangle 49"/>
          <p:cNvSpPr>
            <a:spLocks noChangeArrowheads="1"/>
          </p:cNvSpPr>
          <p:nvPr/>
        </p:nvSpPr>
        <p:spPr bwMode="auto">
          <a:xfrm>
            <a:off x="5738440" y="1568574"/>
            <a:ext cx="27940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latinLnBrk="1">
              <a:lnSpc>
                <a:spcPct val="120000"/>
              </a:lnSpc>
            </a:pPr>
            <a:r>
              <a:rPr kumimoji="1" lang="zh-CN" altLang="en-US" sz="10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文字内容  单击此处添加文字内容</a:t>
            </a:r>
            <a:endParaRPr kumimoji="1" lang="zh-CN" altLang="en-US" sz="10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18" name="Rectangle 45"/>
          <p:cNvSpPr>
            <a:spLocks noChangeArrowheads="1"/>
          </p:cNvSpPr>
          <p:nvPr/>
        </p:nvSpPr>
        <p:spPr bwMode="auto">
          <a:xfrm>
            <a:off x="6925890" y="2111038"/>
            <a:ext cx="1606550" cy="347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latinLnBrk="1">
              <a:lnSpc>
                <a:spcPct val="120000"/>
              </a:lnSpc>
            </a:pPr>
            <a:r>
              <a:rPr kumimoji="1" lang="zh-CN" altLang="en-US" sz="1400" dirty="0">
                <a:solidFill>
                  <a:schemeClr val="accent2"/>
                </a:solidFill>
                <a:ea typeface="微软雅黑" panose="020B0503020204020204" pitchFamily="34" charset="-122"/>
              </a:rPr>
              <a:t>单击此处添加文字</a:t>
            </a:r>
            <a:endParaRPr kumimoji="1" lang="zh-CN" altLang="en-US" sz="1400" dirty="0">
              <a:solidFill>
                <a:schemeClr val="accent2"/>
              </a:solidFill>
              <a:ea typeface="微软雅黑" panose="020B0503020204020204" pitchFamily="34" charset="-122"/>
            </a:endParaRPr>
          </a:p>
        </p:txBody>
      </p:sp>
      <p:sp>
        <p:nvSpPr>
          <p:cNvPr id="19" name="Line 46"/>
          <p:cNvSpPr>
            <a:spLocks noChangeShapeType="1"/>
          </p:cNvSpPr>
          <p:nvPr/>
        </p:nvSpPr>
        <p:spPr bwMode="auto">
          <a:xfrm>
            <a:off x="3563889" y="2458700"/>
            <a:ext cx="4968552" cy="11113"/>
          </a:xfrm>
          <a:prstGeom prst="line">
            <a:avLst/>
          </a:prstGeom>
          <a:noFill/>
          <a:ln w="12700">
            <a:solidFill>
              <a:schemeClr val="tx2">
                <a:lumMod val="50000"/>
              </a:schemeClr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>
              <a:ln>
                <a:solidFill>
                  <a:schemeClr val="tx1">
                    <a:lumMod val="10000"/>
                    <a:lumOff val="90000"/>
                  </a:schemeClr>
                </a:solidFill>
              </a:ln>
            </a:endParaRPr>
          </a:p>
        </p:txBody>
      </p:sp>
      <p:sp>
        <p:nvSpPr>
          <p:cNvPr id="20" name="Rectangle 49"/>
          <p:cNvSpPr>
            <a:spLocks noChangeArrowheads="1"/>
          </p:cNvSpPr>
          <p:nvPr/>
        </p:nvSpPr>
        <p:spPr bwMode="auto">
          <a:xfrm>
            <a:off x="5738440" y="2471400"/>
            <a:ext cx="27940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latinLnBrk="1">
              <a:lnSpc>
                <a:spcPct val="120000"/>
              </a:lnSpc>
            </a:pPr>
            <a:r>
              <a:rPr kumimoji="1" lang="zh-CN" altLang="en-US" sz="10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文字内容  单击此处添加文字内容</a:t>
            </a:r>
            <a:endParaRPr kumimoji="1" lang="zh-CN" altLang="en-US" sz="10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  <p:sp>
        <p:nvSpPr>
          <p:cNvPr id="21" name="Rectangle 45"/>
          <p:cNvSpPr>
            <a:spLocks noChangeArrowheads="1"/>
          </p:cNvSpPr>
          <p:nvPr/>
        </p:nvSpPr>
        <p:spPr bwMode="auto">
          <a:xfrm>
            <a:off x="6925890" y="3115270"/>
            <a:ext cx="1606550" cy="347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latinLnBrk="1">
              <a:lnSpc>
                <a:spcPct val="120000"/>
              </a:lnSpc>
            </a:pPr>
            <a:r>
              <a:rPr kumimoji="1" lang="zh-CN" altLang="en-US" sz="1400" dirty="0">
                <a:solidFill>
                  <a:schemeClr val="accent2"/>
                </a:solidFill>
                <a:ea typeface="微软雅黑" panose="020B0503020204020204" pitchFamily="34" charset="-122"/>
              </a:rPr>
              <a:t>单击此处添加文字</a:t>
            </a:r>
            <a:endParaRPr kumimoji="1" lang="zh-CN" altLang="en-US" sz="1400" dirty="0">
              <a:solidFill>
                <a:schemeClr val="accent2"/>
              </a:solidFill>
              <a:ea typeface="微软雅黑" panose="020B0503020204020204" pitchFamily="34" charset="-122"/>
            </a:endParaRPr>
          </a:p>
        </p:txBody>
      </p:sp>
      <p:sp>
        <p:nvSpPr>
          <p:cNvPr id="22" name="Line 46"/>
          <p:cNvSpPr>
            <a:spLocks noChangeShapeType="1"/>
          </p:cNvSpPr>
          <p:nvPr/>
        </p:nvSpPr>
        <p:spPr bwMode="auto">
          <a:xfrm>
            <a:off x="3419873" y="3462932"/>
            <a:ext cx="5112568" cy="11113"/>
          </a:xfrm>
          <a:prstGeom prst="line">
            <a:avLst/>
          </a:prstGeom>
          <a:noFill/>
          <a:ln w="12700">
            <a:solidFill>
              <a:schemeClr val="tx2">
                <a:lumMod val="50000"/>
              </a:schemeClr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zh-CN" altLang="en-US">
              <a:ln>
                <a:solidFill>
                  <a:schemeClr val="tx1">
                    <a:lumMod val="10000"/>
                    <a:lumOff val="90000"/>
                  </a:schemeClr>
                </a:solidFill>
              </a:ln>
            </a:endParaRPr>
          </a:p>
        </p:txBody>
      </p:sp>
      <p:sp>
        <p:nvSpPr>
          <p:cNvPr id="23" name="Rectangle 49"/>
          <p:cNvSpPr>
            <a:spLocks noChangeArrowheads="1"/>
          </p:cNvSpPr>
          <p:nvPr/>
        </p:nvSpPr>
        <p:spPr bwMode="auto">
          <a:xfrm>
            <a:off x="5738440" y="3475632"/>
            <a:ext cx="27940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DDDDDD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 latinLnBrk="1">
              <a:lnSpc>
                <a:spcPct val="120000"/>
              </a:lnSpc>
            </a:pPr>
            <a:r>
              <a:rPr kumimoji="1" lang="zh-CN" altLang="en-US" sz="1000" dirty="0">
                <a:solidFill>
                  <a:schemeClr val="tx2">
                    <a:lumMod val="50000"/>
                  </a:schemeClr>
                </a:solidFill>
                <a:ea typeface="微软雅黑" panose="020B0503020204020204" pitchFamily="34" charset="-122"/>
              </a:rPr>
              <a:t>单击此处添加文字内容  单击此处添加文字内容</a:t>
            </a:r>
            <a:endParaRPr kumimoji="1" lang="zh-CN" altLang="en-US" sz="1000" dirty="0">
              <a:solidFill>
                <a:schemeClr val="tx2">
                  <a:lumMod val="50000"/>
                </a:schemeClr>
              </a:solidFill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5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00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5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00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5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/>
      <p:bldP spid="6" grpId="0"/>
      <p:bldP spid="7" grpId="0"/>
      <p:bldP spid="8" grpId="0"/>
      <p:bldP spid="9" grpId="0"/>
      <p:bldP spid="10" grpId="0" animBg="1"/>
      <p:bldP spid="13" grpId="0"/>
      <p:bldP spid="18" grpId="0"/>
      <p:bldP spid="19" grpId="0" animBg="1"/>
      <p:bldP spid="20" grpId="0"/>
      <p:bldP spid="21" grpId="0"/>
      <p:bldP spid="22" grpId="0" animBg="1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组合 56"/>
          <p:cNvGrpSpPr/>
          <p:nvPr/>
        </p:nvGrpSpPr>
        <p:grpSpPr>
          <a:xfrm>
            <a:off x="609600" y="1539230"/>
            <a:ext cx="7924800" cy="1752600"/>
            <a:chOff x="609600" y="1827262"/>
            <a:chExt cx="7924800" cy="1752600"/>
          </a:xfrm>
        </p:grpSpPr>
        <p:pic>
          <p:nvPicPr>
            <p:cNvPr id="3" name="Picture 22" descr="2副本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2500362"/>
              <a:ext cx="2822575" cy="1079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28"/>
            <p:cNvGrpSpPr/>
            <p:nvPr/>
          </p:nvGrpSpPr>
          <p:grpSpPr bwMode="auto">
            <a:xfrm>
              <a:off x="609600" y="1827262"/>
              <a:ext cx="2819400" cy="1073150"/>
              <a:chOff x="384" y="2064"/>
              <a:chExt cx="1776" cy="676"/>
            </a:xfrm>
          </p:grpSpPr>
          <p:sp>
            <p:nvSpPr>
              <p:cNvPr id="5" name="Freeform 29"/>
              <p:cNvSpPr/>
              <p:nvPr/>
            </p:nvSpPr>
            <p:spPr bwMode="auto">
              <a:xfrm>
                <a:off x="2056" y="2198"/>
                <a:ext cx="103" cy="347"/>
              </a:xfrm>
              <a:custGeom>
                <a:avLst/>
                <a:gdLst>
                  <a:gd name="T0" fmla="*/ 120 w 120"/>
                  <a:gd name="T1" fmla="*/ 0 h 404"/>
                  <a:gd name="T2" fmla="*/ 118 w 120"/>
                  <a:gd name="T3" fmla="*/ 80 h 404"/>
                  <a:gd name="T4" fmla="*/ 16 w 120"/>
                  <a:gd name="T5" fmla="*/ 404 h 404"/>
                  <a:gd name="T6" fmla="*/ 0 w 120"/>
                  <a:gd name="T7" fmla="*/ 354 h 404"/>
                  <a:gd name="T8" fmla="*/ 120 w 120"/>
                  <a:gd name="T9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404">
                    <a:moveTo>
                      <a:pt x="120" y="0"/>
                    </a:moveTo>
                    <a:lnTo>
                      <a:pt x="118" y="80"/>
                    </a:lnTo>
                    <a:lnTo>
                      <a:pt x="16" y="404"/>
                    </a:lnTo>
                    <a:lnTo>
                      <a:pt x="0" y="354"/>
                    </a:lnTo>
                    <a:lnTo>
                      <a:pt x="12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/>
                  </a:gs>
                  <a:gs pos="100000">
                    <a:srgbClr val="777777"/>
                  </a:gs>
                </a:gsLst>
                <a:lin ang="189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6" name="Freeform 30"/>
              <p:cNvSpPr/>
              <p:nvPr/>
            </p:nvSpPr>
            <p:spPr bwMode="auto">
              <a:xfrm>
                <a:off x="790" y="2502"/>
                <a:ext cx="1280" cy="45"/>
              </a:xfrm>
              <a:custGeom>
                <a:avLst/>
                <a:gdLst>
                  <a:gd name="T0" fmla="*/ 1474 w 1490"/>
                  <a:gd name="T1" fmla="*/ 0 h 52"/>
                  <a:gd name="T2" fmla="*/ 1490 w 1490"/>
                  <a:gd name="T3" fmla="*/ 50 h 52"/>
                  <a:gd name="T4" fmla="*/ 1490 w 1490"/>
                  <a:gd name="T5" fmla="*/ 52 h 52"/>
                  <a:gd name="T6" fmla="*/ 18 w 1490"/>
                  <a:gd name="T7" fmla="*/ 52 h 52"/>
                  <a:gd name="T8" fmla="*/ 0 w 1490"/>
                  <a:gd name="T9" fmla="*/ 0 h 52"/>
                  <a:gd name="T10" fmla="*/ 1474 w 1490"/>
                  <a:gd name="T1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90" h="52">
                    <a:moveTo>
                      <a:pt x="1474" y="0"/>
                    </a:moveTo>
                    <a:lnTo>
                      <a:pt x="1490" y="50"/>
                    </a:lnTo>
                    <a:lnTo>
                      <a:pt x="1490" y="52"/>
                    </a:lnTo>
                    <a:lnTo>
                      <a:pt x="18" y="52"/>
                    </a:lnTo>
                    <a:lnTo>
                      <a:pt x="0" y="0"/>
                    </a:lnTo>
                    <a:lnTo>
                      <a:pt x="1474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808080"/>
                  </a:gs>
                  <a:gs pos="100000">
                    <a:srgbClr val="333333"/>
                  </a:gs>
                </a:gsLst>
                <a:lin ang="189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7" name="Freeform 31"/>
              <p:cNvSpPr/>
              <p:nvPr/>
            </p:nvSpPr>
            <p:spPr bwMode="auto">
              <a:xfrm>
                <a:off x="951" y="2064"/>
                <a:ext cx="65" cy="134"/>
              </a:xfrm>
              <a:custGeom>
                <a:avLst/>
                <a:gdLst>
                  <a:gd name="T0" fmla="*/ 76 w 76"/>
                  <a:gd name="T1" fmla="*/ 0 h 156"/>
                  <a:gd name="T2" fmla="*/ 76 w 76"/>
                  <a:gd name="T3" fmla="*/ 114 h 156"/>
                  <a:gd name="T4" fmla="*/ 52 w 76"/>
                  <a:gd name="T5" fmla="*/ 156 h 156"/>
                  <a:gd name="T6" fmla="*/ 0 w 76"/>
                  <a:gd name="T7" fmla="*/ 156 h 156"/>
                  <a:gd name="T8" fmla="*/ 76 w 76"/>
                  <a:gd name="T9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156">
                    <a:moveTo>
                      <a:pt x="76" y="0"/>
                    </a:moveTo>
                    <a:lnTo>
                      <a:pt x="76" y="114"/>
                    </a:lnTo>
                    <a:lnTo>
                      <a:pt x="52" y="156"/>
                    </a:lnTo>
                    <a:lnTo>
                      <a:pt x="0" y="156"/>
                    </a:lnTo>
                    <a:lnTo>
                      <a:pt x="76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33333"/>
                  </a:gs>
                  <a:gs pos="100000">
                    <a:srgbClr val="808080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8" name="Freeform 32"/>
              <p:cNvSpPr/>
              <p:nvPr/>
            </p:nvSpPr>
            <p:spPr bwMode="auto">
              <a:xfrm>
                <a:off x="384" y="2330"/>
                <a:ext cx="321" cy="410"/>
              </a:xfrm>
              <a:custGeom>
                <a:avLst/>
                <a:gdLst>
                  <a:gd name="T0" fmla="*/ 372 w 374"/>
                  <a:gd name="T1" fmla="*/ 392 h 477"/>
                  <a:gd name="T2" fmla="*/ 6 w 374"/>
                  <a:gd name="T3" fmla="*/ 6 h 477"/>
                  <a:gd name="T4" fmla="*/ 0 w 374"/>
                  <a:gd name="T5" fmla="*/ 0 h 477"/>
                  <a:gd name="T6" fmla="*/ 372 w 374"/>
                  <a:gd name="T7" fmla="*/ 388 h 477"/>
                  <a:gd name="T8" fmla="*/ 372 w 374"/>
                  <a:gd name="T9" fmla="*/ 475 h 477"/>
                  <a:gd name="T10" fmla="*/ 374 w 374"/>
                  <a:gd name="T11" fmla="*/ 473 h 477"/>
                  <a:gd name="T12" fmla="*/ 374 w 374"/>
                  <a:gd name="T13" fmla="*/ 477 h 477"/>
                  <a:gd name="T14" fmla="*/ 0 w 374"/>
                  <a:gd name="T15" fmla="*/ 70 h 477"/>
                  <a:gd name="T16" fmla="*/ 0 w 374"/>
                  <a:gd name="T17" fmla="*/ 0 h 477"/>
                  <a:gd name="T18" fmla="*/ 372 w 374"/>
                  <a:gd name="T19" fmla="*/ 392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477">
                    <a:moveTo>
                      <a:pt x="372" y="392"/>
                    </a:moveTo>
                    <a:lnTo>
                      <a:pt x="6" y="6"/>
                    </a:lnTo>
                    <a:lnTo>
                      <a:pt x="0" y="0"/>
                    </a:lnTo>
                    <a:lnTo>
                      <a:pt x="372" y="388"/>
                    </a:lnTo>
                    <a:lnTo>
                      <a:pt x="372" y="475"/>
                    </a:lnTo>
                    <a:lnTo>
                      <a:pt x="374" y="473"/>
                    </a:lnTo>
                    <a:lnTo>
                      <a:pt x="374" y="477"/>
                    </a:lnTo>
                    <a:lnTo>
                      <a:pt x="0" y="70"/>
                    </a:lnTo>
                    <a:lnTo>
                      <a:pt x="0" y="0"/>
                    </a:lnTo>
                    <a:lnTo>
                      <a:pt x="372" y="392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808080"/>
                  </a:gs>
                  <a:gs pos="100000">
                    <a:srgbClr val="333333"/>
                  </a:gs>
                </a:gsLst>
                <a:lin ang="189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9" name="Freeform 33"/>
              <p:cNvSpPr/>
              <p:nvPr/>
            </p:nvSpPr>
            <p:spPr bwMode="auto">
              <a:xfrm>
                <a:off x="384" y="2330"/>
                <a:ext cx="320" cy="337"/>
              </a:xfrm>
              <a:custGeom>
                <a:avLst/>
                <a:gdLst>
                  <a:gd name="T0" fmla="*/ 372 w 372"/>
                  <a:gd name="T1" fmla="*/ 392 h 392"/>
                  <a:gd name="T2" fmla="*/ 0 w 372"/>
                  <a:gd name="T3" fmla="*/ 0 h 392"/>
                  <a:gd name="T4" fmla="*/ 6 w 372"/>
                  <a:gd name="T5" fmla="*/ 6 h 392"/>
                  <a:gd name="T6" fmla="*/ 372 w 372"/>
                  <a:gd name="T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2" h="392">
                    <a:moveTo>
                      <a:pt x="372" y="392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372" y="392"/>
                    </a:lnTo>
                    <a:close/>
                  </a:path>
                </a:pathLst>
              </a:cu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0" name="Freeform 34"/>
              <p:cNvSpPr/>
              <p:nvPr/>
            </p:nvSpPr>
            <p:spPr bwMode="auto">
              <a:xfrm>
                <a:off x="704" y="2502"/>
                <a:ext cx="101" cy="235"/>
              </a:xfrm>
              <a:custGeom>
                <a:avLst/>
                <a:gdLst>
                  <a:gd name="T0" fmla="*/ 100 w 118"/>
                  <a:gd name="T1" fmla="*/ 0 h 273"/>
                  <a:gd name="T2" fmla="*/ 118 w 118"/>
                  <a:gd name="T3" fmla="*/ 52 h 273"/>
                  <a:gd name="T4" fmla="*/ 2 w 118"/>
                  <a:gd name="T5" fmla="*/ 273 h 273"/>
                  <a:gd name="T6" fmla="*/ 0 w 118"/>
                  <a:gd name="T7" fmla="*/ 188 h 273"/>
                  <a:gd name="T8" fmla="*/ 100 w 118"/>
                  <a:gd name="T9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273">
                    <a:moveTo>
                      <a:pt x="100" y="0"/>
                    </a:moveTo>
                    <a:lnTo>
                      <a:pt x="118" y="52"/>
                    </a:lnTo>
                    <a:lnTo>
                      <a:pt x="2" y="273"/>
                    </a:lnTo>
                    <a:lnTo>
                      <a:pt x="0" y="188"/>
                    </a:lnTo>
                    <a:lnTo>
                      <a:pt x="1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/>
                  </a:gs>
                  <a:gs pos="100000">
                    <a:srgbClr val="777777"/>
                  </a:gs>
                </a:gsLst>
                <a:lin ang="189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1" name="Freeform 35"/>
              <p:cNvSpPr/>
              <p:nvPr/>
            </p:nvSpPr>
            <p:spPr bwMode="auto">
              <a:xfrm>
                <a:off x="790" y="2502"/>
                <a:ext cx="15" cy="45"/>
              </a:xfrm>
              <a:custGeom>
                <a:avLst/>
                <a:gdLst>
                  <a:gd name="T0" fmla="*/ 0 w 18"/>
                  <a:gd name="T1" fmla="*/ 0 h 52"/>
                  <a:gd name="T2" fmla="*/ 18 w 18"/>
                  <a:gd name="T3" fmla="*/ 52 h 52"/>
                  <a:gd name="T4" fmla="*/ 0 w 18"/>
                  <a:gd name="T5" fmla="*/ 0 h 52"/>
                  <a:gd name="T6" fmla="*/ 0 w 18"/>
                  <a:gd name="T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52">
                    <a:moveTo>
                      <a:pt x="0" y="0"/>
                    </a:moveTo>
                    <a:lnTo>
                      <a:pt x="18" y="5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2" name="Freeform 36"/>
              <p:cNvSpPr/>
              <p:nvPr/>
            </p:nvSpPr>
            <p:spPr bwMode="auto">
              <a:xfrm>
                <a:off x="704" y="2664"/>
                <a:ext cx="1" cy="74"/>
              </a:xfrm>
              <a:custGeom>
                <a:avLst/>
                <a:gdLst>
                  <a:gd name="T0" fmla="*/ 0 w 2"/>
                  <a:gd name="T1" fmla="*/ 0 h 87"/>
                  <a:gd name="T2" fmla="*/ 2 w 2"/>
                  <a:gd name="T3" fmla="*/ 85 h 87"/>
                  <a:gd name="T4" fmla="*/ 0 w 2"/>
                  <a:gd name="T5" fmla="*/ 87 h 87"/>
                  <a:gd name="T6" fmla="*/ 0 w 2"/>
                  <a:gd name="T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87">
                    <a:moveTo>
                      <a:pt x="0" y="0"/>
                    </a:moveTo>
                    <a:lnTo>
                      <a:pt x="2" y="85"/>
                    </a:lnTo>
                    <a:lnTo>
                      <a:pt x="0" y="8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3" name="Freeform 37"/>
              <p:cNvSpPr/>
              <p:nvPr/>
            </p:nvSpPr>
            <p:spPr bwMode="auto">
              <a:xfrm>
                <a:off x="384" y="2064"/>
                <a:ext cx="1775" cy="600"/>
              </a:xfrm>
              <a:custGeom>
                <a:avLst/>
                <a:gdLst>
                  <a:gd name="T0" fmla="*/ 1946 w 2066"/>
                  <a:gd name="T1" fmla="*/ 510 h 698"/>
                  <a:gd name="T2" fmla="*/ 1946 w 2066"/>
                  <a:gd name="T3" fmla="*/ 510 h 698"/>
                  <a:gd name="T4" fmla="*/ 472 w 2066"/>
                  <a:gd name="T5" fmla="*/ 510 h 698"/>
                  <a:gd name="T6" fmla="*/ 472 w 2066"/>
                  <a:gd name="T7" fmla="*/ 510 h 698"/>
                  <a:gd name="T8" fmla="*/ 472 w 2066"/>
                  <a:gd name="T9" fmla="*/ 510 h 698"/>
                  <a:gd name="T10" fmla="*/ 372 w 2066"/>
                  <a:gd name="T11" fmla="*/ 698 h 698"/>
                  <a:gd name="T12" fmla="*/ 0 w 2066"/>
                  <a:gd name="T13" fmla="*/ 310 h 698"/>
                  <a:gd name="T14" fmla="*/ 736 w 2066"/>
                  <a:gd name="T15" fmla="*/ 0 h 698"/>
                  <a:gd name="T16" fmla="*/ 660 w 2066"/>
                  <a:gd name="T17" fmla="*/ 156 h 698"/>
                  <a:gd name="T18" fmla="*/ 712 w 2066"/>
                  <a:gd name="T19" fmla="*/ 156 h 698"/>
                  <a:gd name="T20" fmla="*/ 2066 w 2066"/>
                  <a:gd name="T21" fmla="*/ 156 h 698"/>
                  <a:gd name="T22" fmla="*/ 2066 w 2066"/>
                  <a:gd name="T23" fmla="*/ 156 h 698"/>
                  <a:gd name="T24" fmla="*/ 1946 w 2066"/>
                  <a:gd name="T25" fmla="*/ 510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66" h="698">
                    <a:moveTo>
                      <a:pt x="1946" y="510"/>
                    </a:moveTo>
                    <a:lnTo>
                      <a:pt x="1946" y="510"/>
                    </a:lnTo>
                    <a:lnTo>
                      <a:pt x="472" y="510"/>
                    </a:lnTo>
                    <a:lnTo>
                      <a:pt x="472" y="510"/>
                    </a:lnTo>
                    <a:lnTo>
                      <a:pt x="472" y="510"/>
                    </a:lnTo>
                    <a:lnTo>
                      <a:pt x="372" y="698"/>
                    </a:lnTo>
                    <a:lnTo>
                      <a:pt x="0" y="310"/>
                    </a:lnTo>
                    <a:lnTo>
                      <a:pt x="736" y="0"/>
                    </a:lnTo>
                    <a:lnTo>
                      <a:pt x="660" y="156"/>
                    </a:lnTo>
                    <a:lnTo>
                      <a:pt x="712" y="156"/>
                    </a:lnTo>
                    <a:lnTo>
                      <a:pt x="2066" y="156"/>
                    </a:lnTo>
                    <a:lnTo>
                      <a:pt x="2066" y="156"/>
                    </a:lnTo>
                    <a:lnTo>
                      <a:pt x="1946" y="51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77777"/>
                  </a:gs>
                  <a:gs pos="100000">
                    <a:srgbClr val="DDDDDD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4" name="Rectangle 38"/>
              <p:cNvSpPr>
                <a:spLocks noChangeArrowheads="1"/>
              </p:cNvSpPr>
              <p:nvPr/>
            </p:nvSpPr>
            <p:spPr bwMode="auto">
              <a:xfrm>
                <a:off x="790" y="2502"/>
                <a:ext cx="0" cy="1"/>
              </a:xfrm>
              <a:prstGeom prst="rect">
                <a:avLst/>
              </a:pr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5" name="Rectangle 39"/>
              <p:cNvSpPr>
                <a:spLocks noChangeArrowheads="1"/>
              </p:cNvSpPr>
              <p:nvPr/>
            </p:nvSpPr>
            <p:spPr bwMode="auto">
              <a:xfrm>
                <a:off x="2159" y="2198"/>
                <a:ext cx="1" cy="1"/>
              </a:xfrm>
              <a:prstGeom prst="rect">
                <a:avLst/>
              </a:pr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grpSp>
          <p:nvGrpSpPr>
            <p:cNvPr id="16" name="Group 40"/>
            <p:cNvGrpSpPr/>
            <p:nvPr/>
          </p:nvGrpSpPr>
          <p:grpSpPr bwMode="auto">
            <a:xfrm>
              <a:off x="5791200" y="1827262"/>
              <a:ext cx="2743200" cy="1044575"/>
              <a:chOff x="3648" y="2064"/>
              <a:chExt cx="1728" cy="658"/>
            </a:xfrm>
          </p:grpSpPr>
          <p:sp>
            <p:nvSpPr>
              <p:cNvPr id="17" name="Freeform 41"/>
              <p:cNvSpPr/>
              <p:nvPr/>
            </p:nvSpPr>
            <p:spPr bwMode="auto">
              <a:xfrm>
                <a:off x="3648" y="2194"/>
                <a:ext cx="98" cy="338"/>
              </a:xfrm>
              <a:custGeom>
                <a:avLst/>
                <a:gdLst>
                  <a:gd name="T0" fmla="*/ 0 w 68"/>
                  <a:gd name="T1" fmla="*/ 0 h 234"/>
                  <a:gd name="T2" fmla="*/ 0 w 68"/>
                  <a:gd name="T3" fmla="*/ 46 h 234"/>
                  <a:gd name="T4" fmla="*/ 60 w 68"/>
                  <a:gd name="T5" fmla="*/ 234 h 234"/>
                  <a:gd name="T6" fmla="*/ 68 w 68"/>
                  <a:gd name="T7" fmla="*/ 206 h 234"/>
                  <a:gd name="T8" fmla="*/ 0 w 68"/>
                  <a:gd name="T9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234">
                    <a:moveTo>
                      <a:pt x="0" y="0"/>
                    </a:moveTo>
                    <a:lnTo>
                      <a:pt x="0" y="46"/>
                    </a:lnTo>
                    <a:lnTo>
                      <a:pt x="60" y="234"/>
                    </a:lnTo>
                    <a:lnTo>
                      <a:pt x="68" y="206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A0000"/>
                  </a:gs>
                  <a:gs pos="100000">
                    <a:srgbClr val="FF0000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8" name="Freeform 42"/>
              <p:cNvSpPr/>
              <p:nvPr/>
            </p:nvSpPr>
            <p:spPr bwMode="auto">
              <a:xfrm>
                <a:off x="3735" y="2491"/>
                <a:ext cx="1246" cy="41"/>
              </a:xfrm>
              <a:custGeom>
                <a:avLst/>
                <a:gdLst>
                  <a:gd name="T0" fmla="*/ 8 w 864"/>
                  <a:gd name="T1" fmla="*/ 0 h 28"/>
                  <a:gd name="T2" fmla="*/ 0 w 864"/>
                  <a:gd name="T3" fmla="*/ 28 h 28"/>
                  <a:gd name="T4" fmla="*/ 0 w 864"/>
                  <a:gd name="T5" fmla="*/ 28 h 28"/>
                  <a:gd name="T6" fmla="*/ 854 w 864"/>
                  <a:gd name="T7" fmla="*/ 28 h 28"/>
                  <a:gd name="T8" fmla="*/ 864 w 864"/>
                  <a:gd name="T9" fmla="*/ 0 h 28"/>
                  <a:gd name="T10" fmla="*/ 8 w 864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4" h="28">
                    <a:moveTo>
                      <a:pt x="8" y="0"/>
                    </a:moveTo>
                    <a:lnTo>
                      <a:pt x="0" y="28"/>
                    </a:lnTo>
                    <a:lnTo>
                      <a:pt x="0" y="28"/>
                    </a:lnTo>
                    <a:lnTo>
                      <a:pt x="854" y="28"/>
                    </a:lnTo>
                    <a:lnTo>
                      <a:pt x="864" y="0"/>
                    </a:lnTo>
                    <a:lnTo>
                      <a:pt x="8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00000"/>
                  </a:gs>
                  <a:gs pos="100000">
                    <a:srgbClr val="7A0000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19" name="Freeform 43"/>
              <p:cNvSpPr/>
              <p:nvPr/>
            </p:nvSpPr>
            <p:spPr bwMode="auto">
              <a:xfrm>
                <a:off x="4762" y="2064"/>
                <a:ext cx="63" cy="130"/>
              </a:xfrm>
              <a:custGeom>
                <a:avLst/>
                <a:gdLst>
                  <a:gd name="T0" fmla="*/ 0 w 44"/>
                  <a:gd name="T1" fmla="*/ 0 h 90"/>
                  <a:gd name="T2" fmla="*/ 0 w 44"/>
                  <a:gd name="T3" fmla="*/ 64 h 90"/>
                  <a:gd name="T4" fmla="*/ 12 w 44"/>
                  <a:gd name="T5" fmla="*/ 90 h 90"/>
                  <a:gd name="T6" fmla="*/ 44 w 44"/>
                  <a:gd name="T7" fmla="*/ 90 h 90"/>
                  <a:gd name="T8" fmla="*/ 0 w 44"/>
                  <a:gd name="T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90">
                    <a:moveTo>
                      <a:pt x="0" y="0"/>
                    </a:moveTo>
                    <a:lnTo>
                      <a:pt x="0" y="64"/>
                    </a:lnTo>
                    <a:lnTo>
                      <a:pt x="12" y="90"/>
                    </a:lnTo>
                    <a:lnTo>
                      <a:pt x="44" y="9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00000"/>
                  </a:gs>
                  <a:gs pos="100000">
                    <a:srgbClr val="CC0000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0" name="Freeform 44"/>
              <p:cNvSpPr/>
              <p:nvPr/>
            </p:nvSpPr>
            <p:spPr bwMode="auto">
              <a:xfrm>
                <a:off x="5064" y="2321"/>
                <a:ext cx="312" cy="401"/>
              </a:xfrm>
              <a:custGeom>
                <a:avLst/>
                <a:gdLst>
                  <a:gd name="T0" fmla="*/ 0 w 216"/>
                  <a:gd name="T1" fmla="*/ 228 h 278"/>
                  <a:gd name="T2" fmla="*/ 214 w 216"/>
                  <a:gd name="T3" fmla="*/ 4 h 278"/>
                  <a:gd name="T4" fmla="*/ 216 w 216"/>
                  <a:gd name="T5" fmla="*/ 0 h 278"/>
                  <a:gd name="T6" fmla="*/ 0 w 216"/>
                  <a:gd name="T7" fmla="*/ 226 h 278"/>
                  <a:gd name="T8" fmla="*/ 0 w 216"/>
                  <a:gd name="T9" fmla="*/ 276 h 278"/>
                  <a:gd name="T10" fmla="*/ 0 w 216"/>
                  <a:gd name="T11" fmla="*/ 276 h 278"/>
                  <a:gd name="T12" fmla="*/ 0 w 216"/>
                  <a:gd name="T13" fmla="*/ 278 h 278"/>
                  <a:gd name="T14" fmla="*/ 216 w 216"/>
                  <a:gd name="T15" fmla="*/ 42 h 278"/>
                  <a:gd name="T16" fmla="*/ 216 w 216"/>
                  <a:gd name="T17" fmla="*/ 0 h 278"/>
                  <a:gd name="T18" fmla="*/ 0 w 216"/>
                  <a:gd name="T19" fmla="*/ 228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6" h="278">
                    <a:moveTo>
                      <a:pt x="0" y="228"/>
                    </a:moveTo>
                    <a:lnTo>
                      <a:pt x="214" y="4"/>
                    </a:lnTo>
                    <a:lnTo>
                      <a:pt x="216" y="0"/>
                    </a:lnTo>
                    <a:lnTo>
                      <a:pt x="0" y="226"/>
                    </a:lnTo>
                    <a:lnTo>
                      <a:pt x="0" y="276"/>
                    </a:lnTo>
                    <a:lnTo>
                      <a:pt x="0" y="276"/>
                    </a:lnTo>
                    <a:lnTo>
                      <a:pt x="0" y="278"/>
                    </a:lnTo>
                    <a:lnTo>
                      <a:pt x="216" y="42"/>
                    </a:lnTo>
                    <a:lnTo>
                      <a:pt x="216" y="0"/>
                    </a:lnTo>
                    <a:lnTo>
                      <a:pt x="0" y="22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A0000">
                      <a:gamma/>
                      <a:shade val="0"/>
                      <a:invGamma/>
                    </a:srgbClr>
                  </a:gs>
                  <a:gs pos="100000">
                    <a:srgbClr val="7A0000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" name="Freeform 45"/>
              <p:cNvSpPr/>
              <p:nvPr/>
            </p:nvSpPr>
            <p:spPr bwMode="auto">
              <a:xfrm>
                <a:off x="5064" y="2321"/>
                <a:ext cx="312" cy="329"/>
              </a:xfrm>
              <a:custGeom>
                <a:avLst/>
                <a:gdLst>
                  <a:gd name="T0" fmla="*/ 0 w 216"/>
                  <a:gd name="T1" fmla="*/ 228 h 228"/>
                  <a:gd name="T2" fmla="*/ 216 w 216"/>
                  <a:gd name="T3" fmla="*/ 0 h 228"/>
                  <a:gd name="T4" fmla="*/ 214 w 216"/>
                  <a:gd name="T5" fmla="*/ 4 h 228"/>
                  <a:gd name="T6" fmla="*/ 0 w 216"/>
                  <a:gd name="T7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" h="228">
                    <a:moveTo>
                      <a:pt x="0" y="228"/>
                    </a:moveTo>
                    <a:lnTo>
                      <a:pt x="216" y="0"/>
                    </a:lnTo>
                    <a:lnTo>
                      <a:pt x="214" y="4"/>
                    </a:lnTo>
                    <a:lnTo>
                      <a:pt x="0" y="228"/>
                    </a:lnTo>
                    <a:close/>
                  </a:path>
                </a:pathLst>
              </a:cu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2" name="Freeform 46"/>
              <p:cNvSpPr/>
              <p:nvPr/>
            </p:nvSpPr>
            <p:spPr bwMode="auto">
              <a:xfrm>
                <a:off x="4966" y="2491"/>
                <a:ext cx="98" cy="228"/>
              </a:xfrm>
              <a:custGeom>
                <a:avLst/>
                <a:gdLst>
                  <a:gd name="T0" fmla="*/ 10 w 68"/>
                  <a:gd name="T1" fmla="*/ 0 h 158"/>
                  <a:gd name="T2" fmla="*/ 0 w 68"/>
                  <a:gd name="T3" fmla="*/ 28 h 158"/>
                  <a:gd name="T4" fmla="*/ 68 w 68"/>
                  <a:gd name="T5" fmla="*/ 158 h 158"/>
                  <a:gd name="T6" fmla="*/ 68 w 68"/>
                  <a:gd name="T7" fmla="*/ 108 h 158"/>
                  <a:gd name="T8" fmla="*/ 10 w 68"/>
                  <a:gd name="T9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158">
                    <a:moveTo>
                      <a:pt x="10" y="0"/>
                    </a:moveTo>
                    <a:lnTo>
                      <a:pt x="0" y="28"/>
                    </a:lnTo>
                    <a:lnTo>
                      <a:pt x="68" y="158"/>
                    </a:lnTo>
                    <a:lnTo>
                      <a:pt x="68" y="108"/>
                    </a:lnTo>
                    <a:lnTo>
                      <a:pt x="1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7A0000"/>
                  </a:gs>
                  <a:gs pos="100000">
                    <a:srgbClr val="FF0000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3" name="Freeform 47"/>
              <p:cNvSpPr/>
              <p:nvPr/>
            </p:nvSpPr>
            <p:spPr bwMode="auto">
              <a:xfrm>
                <a:off x="4966" y="2491"/>
                <a:ext cx="15" cy="41"/>
              </a:xfrm>
              <a:custGeom>
                <a:avLst/>
                <a:gdLst>
                  <a:gd name="T0" fmla="*/ 10 w 10"/>
                  <a:gd name="T1" fmla="*/ 0 h 28"/>
                  <a:gd name="T2" fmla="*/ 0 w 10"/>
                  <a:gd name="T3" fmla="*/ 28 h 28"/>
                  <a:gd name="T4" fmla="*/ 10 w 10"/>
                  <a:gd name="T5" fmla="*/ 0 h 28"/>
                  <a:gd name="T6" fmla="*/ 10 w 10"/>
                  <a:gd name="T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28">
                    <a:moveTo>
                      <a:pt x="10" y="0"/>
                    </a:moveTo>
                    <a:lnTo>
                      <a:pt x="0" y="28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4" name="Rectangle 48"/>
              <p:cNvSpPr>
                <a:spLocks noChangeArrowheads="1"/>
              </p:cNvSpPr>
              <p:nvPr/>
            </p:nvSpPr>
            <p:spPr bwMode="auto">
              <a:xfrm>
                <a:off x="5064" y="2647"/>
                <a:ext cx="2" cy="72"/>
              </a:xfrm>
              <a:prstGeom prst="rect">
                <a:avLst/>
              </a:pr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5" name="Freeform 49"/>
              <p:cNvSpPr/>
              <p:nvPr/>
            </p:nvSpPr>
            <p:spPr bwMode="auto">
              <a:xfrm>
                <a:off x="3648" y="2064"/>
                <a:ext cx="1728" cy="583"/>
              </a:xfrm>
              <a:custGeom>
                <a:avLst/>
                <a:gdLst>
                  <a:gd name="T0" fmla="*/ 68 w 1198"/>
                  <a:gd name="T1" fmla="*/ 296 h 404"/>
                  <a:gd name="T2" fmla="*/ 68 w 1198"/>
                  <a:gd name="T3" fmla="*/ 296 h 404"/>
                  <a:gd name="T4" fmla="*/ 924 w 1198"/>
                  <a:gd name="T5" fmla="*/ 296 h 404"/>
                  <a:gd name="T6" fmla="*/ 924 w 1198"/>
                  <a:gd name="T7" fmla="*/ 296 h 404"/>
                  <a:gd name="T8" fmla="*/ 924 w 1198"/>
                  <a:gd name="T9" fmla="*/ 296 h 404"/>
                  <a:gd name="T10" fmla="*/ 982 w 1198"/>
                  <a:gd name="T11" fmla="*/ 404 h 404"/>
                  <a:gd name="T12" fmla="*/ 1198 w 1198"/>
                  <a:gd name="T13" fmla="*/ 178 h 404"/>
                  <a:gd name="T14" fmla="*/ 772 w 1198"/>
                  <a:gd name="T15" fmla="*/ 0 h 404"/>
                  <a:gd name="T16" fmla="*/ 816 w 1198"/>
                  <a:gd name="T17" fmla="*/ 90 h 404"/>
                  <a:gd name="T18" fmla="*/ 784 w 1198"/>
                  <a:gd name="T19" fmla="*/ 90 h 404"/>
                  <a:gd name="T20" fmla="*/ 0 w 1198"/>
                  <a:gd name="T21" fmla="*/ 90 h 404"/>
                  <a:gd name="T22" fmla="*/ 0 w 1198"/>
                  <a:gd name="T23" fmla="*/ 90 h 404"/>
                  <a:gd name="T24" fmla="*/ 68 w 1198"/>
                  <a:gd name="T25" fmla="*/ 29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8" h="404">
                    <a:moveTo>
                      <a:pt x="68" y="296"/>
                    </a:moveTo>
                    <a:lnTo>
                      <a:pt x="68" y="296"/>
                    </a:lnTo>
                    <a:lnTo>
                      <a:pt x="924" y="296"/>
                    </a:lnTo>
                    <a:lnTo>
                      <a:pt x="924" y="296"/>
                    </a:lnTo>
                    <a:lnTo>
                      <a:pt x="924" y="296"/>
                    </a:lnTo>
                    <a:lnTo>
                      <a:pt x="982" y="404"/>
                    </a:lnTo>
                    <a:lnTo>
                      <a:pt x="1198" y="178"/>
                    </a:lnTo>
                    <a:lnTo>
                      <a:pt x="772" y="0"/>
                    </a:lnTo>
                    <a:lnTo>
                      <a:pt x="816" y="90"/>
                    </a:lnTo>
                    <a:lnTo>
                      <a:pt x="784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68" y="29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0000">
                      <a:alpha val="50000"/>
                    </a:srgbClr>
                  </a:gs>
                  <a:gs pos="100000">
                    <a:srgbClr val="CC0000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6" name="Rectangle 50"/>
              <p:cNvSpPr>
                <a:spLocks noChangeArrowheads="1"/>
              </p:cNvSpPr>
              <p:nvPr/>
            </p:nvSpPr>
            <p:spPr bwMode="auto">
              <a:xfrm>
                <a:off x="4981" y="2491"/>
                <a:ext cx="1" cy="2"/>
              </a:xfrm>
              <a:prstGeom prst="rect">
                <a:avLst/>
              </a:pr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7" name="Rectangle 51"/>
              <p:cNvSpPr>
                <a:spLocks noChangeArrowheads="1"/>
              </p:cNvSpPr>
              <p:nvPr/>
            </p:nvSpPr>
            <p:spPr bwMode="auto">
              <a:xfrm>
                <a:off x="3648" y="2194"/>
                <a:ext cx="1" cy="1"/>
              </a:xfrm>
              <a:prstGeom prst="rect">
                <a:avLst/>
              </a:prstGeom>
              <a:solidFill>
                <a:srgbClr val="02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pic>
          <p:nvPicPr>
            <p:cNvPr id="28" name="Picture 52" descr="1副本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1200" y="2532112"/>
              <a:ext cx="2743200" cy="1047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1" name="WordArt 79"/>
          <p:cNvSpPr>
            <a:spLocks noChangeArrowheads="1" noChangeShapeType="1" noTextEdit="1"/>
          </p:cNvSpPr>
          <p:nvPr/>
        </p:nvSpPr>
        <p:spPr bwMode="auto">
          <a:xfrm>
            <a:off x="3491880" y="3395811"/>
            <a:ext cx="2273915" cy="3651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3600" kern="10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添加标题</a:t>
            </a:r>
            <a:endParaRPr lang="zh-CN" altLang="en-US" sz="3600" kern="1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Rectangle 80"/>
          <p:cNvSpPr>
            <a:spLocks noChangeArrowheads="1"/>
          </p:cNvSpPr>
          <p:nvPr/>
        </p:nvSpPr>
        <p:spPr bwMode="auto">
          <a:xfrm>
            <a:off x="1258888" y="3802211"/>
            <a:ext cx="6624637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200" b="0"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单击此处添加文字内容</a:t>
            </a:r>
            <a:endParaRPr lang="zh-CN" altLang="en-US" sz="1200" b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200" b="0"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单击此处添加文字内容</a:t>
            </a:r>
            <a:endParaRPr lang="zh-CN" altLang="en-US" sz="1200" b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3764459" y="1419622"/>
            <a:ext cx="1671637" cy="1646238"/>
            <a:chOff x="3577457" y="1969492"/>
            <a:chExt cx="1671637" cy="1646238"/>
          </a:xfrm>
        </p:grpSpPr>
        <p:sp>
          <p:nvSpPr>
            <p:cNvPr id="44" name="Oval 22"/>
            <p:cNvSpPr>
              <a:spLocks noChangeArrowheads="1"/>
            </p:cNvSpPr>
            <p:nvPr/>
          </p:nvSpPr>
          <p:spPr bwMode="gray">
            <a:xfrm>
              <a:off x="3577457" y="1969492"/>
              <a:ext cx="1671637" cy="1646238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chemeClr val="hlink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zh-CN" altLang="zh-CN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5" name="Picture 24" descr="Picture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748907" y="1982192"/>
              <a:ext cx="1330325" cy="581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6" name="Group 25"/>
            <p:cNvGrpSpPr/>
            <p:nvPr/>
          </p:nvGrpSpPr>
          <p:grpSpPr bwMode="auto">
            <a:xfrm>
              <a:off x="3686994" y="3266480"/>
              <a:ext cx="1454150" cy="287337"/>
              <a:chOff x="2395" y="2655"/>
              <a:chExt cx="952" cy="188"/>
            </a:xfrm>
          </p:grpSpPr>
          <p:sp>
            <p:nvSpPr>
              <p:cNvPr id="47" name="AutoShape 26"/>
              <p:cNvSpPr>
                <a:spLocks noChangeArrowheads="1"/>
              </p:cNvSpPr>
              <p:nvPr/>
            </p:nvSpPr>
            <p:spPr bwMode="ltGray">
              <a:xfrm rot="3965706" flipH="1" flipV="1">
                <a:off x="2991" y="2437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8" name="AutoShape 27"/>
              <p:cNvSpPr>
                <a:spLocks noChangeArrowheads="1"/>
              </p:cNvSpPr>
              <p:nvPr/>
            </p:nvSpPr>
            <p:spPr bwMode="ltGray">
              <a:xfrm rot="4780856" flipH="1" flipV="1">
                <a:off x="2902" y="2472"/>
                <a:ext cx="138" cy="573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9" name="AutoShape 28"/>
              <p:cNvSpPr>
                <a:spLocks noChangeArrowheads="1"/>
              </p:cNvSpPr>
              <p:nvPr/>
            </p:nvSpPr>
            <p:spPr bwMode="ltGray">
              <a:xfrm rot="5076502" flipH="1" flipV="1">
                <a:off x="2847" y="2480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50" name="AutoShape 29"/>
              <p:cNvSpPr>
                <a:spLocks noChangeArrowheads="1"/>
              </p:cNvSpPr>
              <p:nvPr/>
            </p:nvSpPr>
            <p:spPr bwMode="ltGray">
              <a:xfrm rot="5608887" flipH="1" flipV="1">
                <a:off x="2782" y="2487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51" name="AutoShape 30"/>
              <p:cNvSpPr>
                <a:spLocks noChangeArrowheads="1"/>
              </p:cNvSpPr>
              <p:nvPr/>
            </p:nvSpPr>
            <p:spPr bwMode="ltGray">
              <a:xfrm rot="5319246" flipH="1" flipV="1">
                <a:off x="2824" y="2487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52" name="AutoShape 31"/>
              <p:cNvSpPr>
                <a:spLocks noChangeArrowheads="1"/>
              </p:cNvSpPr>
              <p:nvPr/>
            </p:nvSpPr>
            <p:spPr bwMode="ltGray">
              <a:xfrm rot="6134397" flipH="1" flipV="1">
                <a:off x="2729" y="2486"/>
                <a:ext cx="138" cy="573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53" name="AutoShape 32"/>
              <p:cNvSpPr>
                <a:spLocks noChangeArrowheads="1"/>
              </p:cNvSpPr>
              <p:nvPr/>
            </p:nvSpPr>
            <p:spPr bwMode="ltGray">
              <a:xfrm rot="6430042" flipH="1" flipV="1">
                <a:off x="2674" y="2472"/>
                <a:ext cx="139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54" name="AutoShape 33"/>
              <p:cNvSpPr>
                <a:spLocks noChangeArrowheads="1"/>
              </p:cNvSpPr>
              <p:nvPr/>
            </p:nvSpPr>
            <p:spPr bwMode="ltGray">
              <a:xfrm rot="6962427" flipH="1" flipV="1">
                <a:off x="2613" y="2452"/>
                <a:ext cx="138" cy="574"/>
              </a:xfrm>
              <a:prstGeom prst="moon">
                <a:avLst>
                  <a:gd name="adj" fmla="val 49773"/>
                </a:avLst>
              </a:prstGeom>
              <a:solidFill>
                <a:srgbClr val="F8F8F8">
                  <a:alpha val="399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55" name="WordArt 34"/>
          <p:cNvSpPr>
            <a:spLocks noChangeArrowheads="1" noChangeShapeType="1" noTextEdit="1"/>
          </p:cNvSpPr>
          <p:nvPr/>
        </p:nvSpPr>
        <p:spPr bwMode="auto">
          <a:xfrm rot="-21600000">
            <a:off x="3993059" y="1877864"/>
            <a:ext cx="1212850" cy="73183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zh-CN" altLang="en-US" sz="2400" kern="1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击添加</a:t>
            </a:r>
            <a:endParaRPr lang="zh-CN" altLang="en-US" sz="2400" kern="1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2400" kern="1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文字</a:t>
            </a:r>
            <a:endParaRPr lang="zh-CN" altLang="en-US" sz="2400" kern="1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55" grpId="0"/>
    </p:bldLst>
  </p:timing>
</p:sld>
</file>

<file path=ppt/tags/tag1.xml><?xml version="1.0" encoding="utf-8"?>
<p:tagLst xmlns:p="http://schemas.openxmlformats.org/presentationml/2006/main">
  <p:tag name="THINKCELLSHAPEDONOTDELETE" val="pKOZHO13yzUCaepRpRzBw5w"/>
</p:tagLst>
</file>

<file path=ppt/tags/tag2.xml><?xml version="1.0" encoding="utf-8"?>
<p:tagLst xmlns:p="http://schemas.openxmlformats.org/presentationml/2006/main">
  <p:tag name="THINKCELLSHAPEDONOTDELETE" val="pKOZHO13yzUCaepRpRzBw5w"/>
</p:tagLst>
</file>

<file path=ppt/tags/tag3.xml><?xml version="1.0" encoding="utf-8"?>
<p:tagLst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自定义 3">
      <a:dk1>
        <a:srgbClr val="FFFFFF"/>
      </a:dk1>
      <a:lt1>
        <a:srgbClr val="B2B2B2"/>
      </a:lt1>
      <a:dk2>
        <a:srgbClr val="B2B2B2"/>
      </a:dk2>
      <a:lt2>
        <a:srgbClr val="D8D8D8"/>
      </a:lt2>
      <a:accent1>
        <a:srgbClr val="FF0000"/>
      </a:accent1>
      <a:accent2>
        <a:srgbClr val="C00000"/>
      </a:accent2>
      <a:accent3>
        <a:srgbClr val="FFFFFF"/>
      </a:accent3>
      <a:accent4>
        <a:srgbClr val="080808"/>
      </a:accent4>
      <a:accent5>
        <a:srgbClr val="C00000"/>
      </a:accent5>
      <a:accent6>
        <a:srgbClr val="454545"/>
      </a:accent6>
      <a:hlink>
        <a:srgbClr val="C00000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22</Words>
  <Application>WPS 演示</Application>
  <PresentationFormat>全屏显示(16:9)</PresentationFormat>
  <Paragraphs>775</Paragraphs>
  <Slides>40</Slides>
  <Notes>5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55" baseType="lpstr">
      <vt:lpstr>Arial</vt:lpstr>
      <vt:lpstr>宋体</vt:lpstr>
      <vt:lpstr>Wingdings</vt:lpstr>
      <vt:lpstr>微软雅黑</vt:lpstr>
      <vt:lpstr>方正兰亭粗黑简体</vt:lpstr>
      <vt:lpstr>黑体</vt:lpstr>
      <vt:lpstr>Segoe UI</vt:lpstr>
      <vt:lpstr>Segoe UI</vt:lpstr>
      <vt:lpstr>Calibri</vt:lpstr>
      <vt:lpstr>Arial Unicode MS</vt:lpstr>
      <vt:lpstr>MS PGothic</vt:lpstr>
      <vt:lpstr>Calibri</vt:lpstr>
      <vt:lpstr>Gulim</vt:lpstr>
      <vt:lpstr>Arial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xqppt.com</dc:title>
  <dc:creator>小Q办公</dc:creator>
  <cp:keywords/>
  <dc:description/>
  <dc:subject/>
  <cp:category/>
  <cp:lastModifiedBy> </cp:lastModifiedBy>
  <cp:revision>120</cp:revision>
  <dcterms:created xsi:type="dcterms:W3CDTF">2019-07-03T03:42:44Z</dcterms:created>
  <dcterms:modified xsi:type="dcterms:W3CDTF">2019-07-03T03:43:33Z</dcterms:modified>
  <cp:contentStatus/>
  <dc:identifier/>
  <dc:language>utf-8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765</vt:lpwstr>
  </property>
</Properties>
</file>